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15" r:id="rId6"/>
    <p:sldMasterId id="2147483728" r:id="rId7"/>
  </p:sldMasterIdLst>
  <p:notesMasterIdLst>
    <p:notesMasterId r:id="rId19"/>
  </p:notesMasterIdLst>
  <p:sldIdLst>
    <p:sldId id="318" r:id="rId8"/>
    <p:sldId id="461" r:id="rId9"/>
    <p:sldId id="469" r:id="rId10"/>
    <p:sldId id="460" r:id="rId11"/>
    <p:sldId id="471" r:id="rId12"/>
    <p:sldId id="470" r:id="rId13"/>
    <p:sldId id="473" r:id="rId14"/>
    <p:sldId id="457" r:id="rId15"/>
    <p:sldId id="450" r:id="rId16"/>
    <p:sldId id="455" r:id="rId17"/>
    <p:sldId id="462"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CC33"/>
    <a:srgbClr val="0075BF"/>
    <a:srgbClr val="E5EBE8"/>
    <a:srgbClr val="FFFFFF"/>
    <a:srgbClr val="008000"/>
    <a:srgbClr val="CCCB00"/>
    <a:srgbClr val="575756"/>
    <a:srgbClr val="FC6719"/>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0" autoAdjust="0"/>
    <p:restoredTop sz="96192" autoAdjust="0"/>
  </p:normalViewPr>
  <p:slideViewPr>
    <p:cSldViewPr snapToGrid="0">
      <p:cViewPr varScale="1">
        <p:scale>
          <a:sx n="91" d="100"/>
          <a:sy n="91" d="100"/>
        </p:scale>
        <p:origin x="786" y="90"/>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 Id="rId3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5ED610-0DBB-4FA8-9FC0-63ED81091EDD}" type="doc">
      <dgm:prSet loTypeId="urn:microsoft.com/office/officeart/2005/8/layout/orgChart1" loCatId="hierarchy" qsTypeId="urn:microsoft.com/office/officeart/2005/8/quickstyle/simple1" qsCatId="simple" csTypeId="urn:microsoft.com/office/officeart/2005/8/colors/accent0_1" csCatId="mainScheme" phldr="1"/>
      <dgm:spPr/>
      <dgm:t>
        <a:bodyPr/>
        <a:lstStyle/>
        <a:p>
          <a:endParaRPr lang="es-PE"/>
        </a:p>
      </dgm:t>
    </dgm:pt>
    <dgm:pt modelId="{1EDBA414-4513-4658-BE65-B7DBAEB08201}">
      <dgm:prSet custT="1"/>
      <dgm:spPr/>
      <dgm:t>
        <a:bodyPr/>
        <a:lstStyle/>
        <a:p>
          <a:r>
            <a:rPr lang="es-PE" sz="1400" b="1" dirty="0" smtClean="0"/>
            <a:t>CONTROL ELECTRÓNICO DEL IGV</a:t>
          </a:r>
          <a:endParaRPr lang="es-PE" sz="1400" dirty="0"/>
        </a:p>
      </dgm:t>
    </dgm:pt>
    <dgm:pt modelId="{87FC5F76-ECDC-4DDD-8902-A8A175ABB7C9}" type="parTrans" cxnId="{A992BE12-AE43-444C-B77D-D34CFB37FBA7}">
      <dgm:prSet/>
      <dgm:spPr/>
      <dgm:t>
        <a:bodyPr/>
        <a:lstStyle/>
        <a:p>
          <a:endParaRPr lang="es-PE" sz="1000"/>
        </a:p>
      </dgm:t>
    </dgm:pt>
    <dgm:pt modelId="{39F0F8B9-1619-4DF2-9DCB-2329EE350342}" type="sibTrans" cxnId="{A992BE12-AE43-444C-B77D-D34CFB37FBA7}">
      <dgm:prSet/>
      <dgm:spPr/>
      <dgm:t>
        <a:bodyPr/>
        <a:lstStyle/>
        <a:p>
          <a:endParaRPr lang="es-PE" sz="1000"/>
        </a:p>
      </dgm:t>
    </dgm:pt>
    <dgm:pt modelId="{724B850C-CB70-44AD-BD85-E4612A5059A1}">
      <dgm:prSet custT="1"/>
      <dgm:spPr/>
      <dgm:t>
        <a:bodyPr/>
        <a:lstStyle/>
        <a:p>
          <a:r>
            <a:rPr lang="es-PE" sz="1000" b="1" dirty="0" smtClean="0"/>
            <a:t>Disponibilidad de Modelos de IGV y PN</a:t>
          </a:r>
          <a:endParaRPr lang="es-PE" sz="1000" dirty="0"/>
        </a:p>
      </dgm:t>
    </dgm:pt>
    <dgm:pt modelId="{89C43FC3-2D04-4B16-88FC-3BAFD3961ECC}" type="parTrans" cxnId="{63257126-26DE-4875-8742-4E5ABC62A288}">
      <dgm:prSet/>
      <dgm:spPr/>
      <dgm:t>
        <a:bodyPr/>
        <a:lstStyle/>
        <a:p>
          <a:endParaRPr lang="es-PE" sz="1000"/>
        </a:p>
      </dgm:t>
    </dgm:pt>
    <dgm:pt modelId="{3FFF3A06-6475-4F80-80D1-878DAD0099B0}" type="sibTrans" cxnId="{63257126-26DE-4875-8742-4E5ABC62A288}">
      <dgm:prSet/>
      <dgm:spPr/>
      <dgm:t>
        <a:bodyPr/>
        <a:lstStyle/>
        <a:p>
          <a:endParaRPr lang="es-PE" sz="1000"/>
        </a:p>
      </dgm:t>
    </dgm:pt>
    <dgm:pt modelId="{56C0A437-954D-44F4-912F-8784204FC4D6}">
      <dgm:prSet custT="1"/>
      <dgm:spPr/>
      <dgm:t>
        <a:bodyPr/>
        <a:lstStyle/>
        <a:p>
          <a:r>
            <a:rPr lang="es-PE" sz="1000" dirty="0" smtClean="0"/>
            <a:t>Modelo de IGV - </a:t>
          </a:r>
          <a:r>
            <a:rPr lang="es-PE" sz="1000" dirty="0" err="1" smtClean="0"/>
            <a:t>Teradata</a:t>
          </a:r>
          <a:endParaRPr lang="es-PE" sz="1000" dirty="0"/>
        </a:p>
      </dgm:t>
    </dgm:pt>
    <dgm:pt modelId="{8EDF6A87-EA2F-4D43-9623-B2BC544CDCE5}" type="parTrans" cxnId="{9B8DE798-97D8-42DB-94ED-BA00E1FD4031}">
      <dgm:prSet/>
      <dgm:spPr/>
      <dgm:t>
        <a:bodyPr/>
        <a:lstStyle/>
        <a:p>
          <a:endParaRPr lang="es-PE" sz="1000"/>
        </a:p>
      </dgm:t>
    </dgm:pt>
    <dgm:pt modelId="{27764E14-9779-47A1-8021-945455065389}" type="sibTrans" cxnId="{9B8DE798-97D8-42DB-94ED-BA00E1FD4031}">
      <dgm:prSet/>
      <dgm:spPr/>
      <dgm:t>
        <a:bodyPr/>
        <a:lstStyle/>
        <a:p>
          <a:endParaRPr lang="es-PE" sz="1000"/>
        </a:p>
      </dgm:t>
    </dgm:pt>
    <dgm:pt modelId="{65E9CE21-23B3-45AE-A4B9-66EF1B0F6D07}">
      <dgm:prSet custT="1"/>
      <dgm:spPr/>
      <dgm:t>
        <a:bodyPr/>
        <a:lstStyle/>
        <a:p>
          <a:r>
            <a:rPr lang="es-PE" sz="1000" dirty="0" smtClean="0"/>
            <a:t>Modelo de PN – </a:t>
          </a:r>
          <a:r>
            <a:rPr lang="es-PE" sz="1000" dirty="0" err="1" smtClean="0"/>
            <a:t>Teradata</a:t>
          </a:r>
          <a:endParaRPr lang="es-PE" sz="1000" dirty="0"/>
        </a:p>
      </dgm:t>
    </dgm:pt>
    <dgm:pt modelId="{187AE46A-3C30-4F40-90FC-F6D1858E66C2}" type="parTrans" cxnId="{565C4229-4117-4EB7-8748-65101E29EC6D}">
      <dgm:prSet/>
      <dgm:spPr/>
      <dgm:t>
        <a:bodyPr/>
        <a:lstStyle/>
        <a:p>
          <a:endParaRPr lang="es-PE" sz="1000"/>
        </a:p>
      </dgm:t>
    </dgm:pt>
    <dgm:pt modelId="{D9CBA3F3-13C8-445C-A108-A63D02FC2FF6}" type="sibTrans" cxnId="{565C4229-4117-4EB7-8748-65101E29EC6D}">
      <dgm:prSet/>
      <dgm:spPr/>
      <dgm:t>
        <a:bodyPr/>
        <a:lstStyle/>
        <a:p>
          <a:endParaRPr lang="es-PE" sz="1000"/>
        </a:p>
      </dgm:t>
    </dgm:pt>
    <dgm:pt modelId="{EDC7976F-F414-41E7-8BE0-618D41801E0F}">
      <dgm:prSet custT="1"/>
      <dgm:spPr/>
      <dgm:t>
        <a:bodyPr/>
        <a:lstStyle/>
        <a:p>
          <a:r>
            <a:rPr lang="es-PE" sz="1000" b="1" dirty="0" smtClean="0"/>
            <a:t>Gestión de Riesgo del Cumplimiento Tributario del IGV</a:t>
          </a:r>
          <a:endParaRPr lang="es-PE" sz="1000" dirty="0"/>
        </a:p>
      </dgm:t>
    </dgm:pt>
    <dgm:pt modelId="{C3E5B338-D5BC-478C-93B8-C0DD8C60E202}" type="parTrans" cxnId="{CE70081E-C8CA-4C17-8E7D-62304DC8346B}">
      <dgm:prSet/>
      <dgm:spPr/>
      <dgm:t>
        <a:bodyPr/>
        <a:lstStyle/>
        <a:p>
          <a:endParaRPr lang="es-PE" sz="1000"/>
        </a:p>
      </dgm:t>
    </dgm:pt>
    <dgm:pt modelId="{F9263340-6058-4B19-A1E3-0E715696BEF7}" type="sibTrans" cxnId="{CE70081E-C8CA-4C17-8E7D-62304DC8346B}">
      <dgm:prSet/>
      <dgm:spPr/>
      <dgm:t>
        <a:bodyPr/>
        <a:lstStyle/>
        <a:p>
          <a:endParaRPr lang="es-PE" sz="1000"/>
        </a:p>
      </dgm:t>
    </dgm:pt>
    <dgm:pt modelId="{01106A15-B5C3-401F-A2AD-6B329F1D4E46}">
      <dgm:prSet custT="1"/>
      <dgm:spPr/>
      <dgm:t>
        <a:bodyPr/>
        <a:lstStyle/>
        <a:p>
          <a:r>
            <a:rPr lang="es-PE" sz="1000" b="1" dirty="0" smtClean="0"/>
            <a:t>Actualización del Registro Único de Contribuyente</a:t>
          </a:r>
          <a:endParaRPr lang="es-PE" sz="1000" dirty="0"/>
        </a:p>
      </dgm:t>
    </dgm:pt>
    <dgm:pt modelId="{398F7042-69E8-4F50-8A54-EBDC6CEAF256}" type="parTrans" cxnId="{2956068B-E666-4356-BACA-965510492EC5}">
      <dgm:prSet/>
      <dgm:spPr/>
      <dgm:t>
        <a:bodyPr/>
        <a:lstStyle/>
        <a:p>
          <a:endParaRPr lang="es-PE" sz="1000"/>
        </a:p>
      </dgm:t>
    </dgm:pt>
    <dgm:pt modelId="{E0F13676-E5C9-4065-9D58-4C6B6F17A796}" type="sibTrans" cxnId="{2956068B-E666-4356-BACA-965510492EC5}">
      <dgm:prSet/>
      <dgm:spPr/>
      <dgm:t>
        <a:bodyPr/>
        <a:lstStyle/>
        <a:p>
          <a:endParaRPr lang="es-PE" sz="1000"/>
        </a:p>
      </dgm:t>
    </dgm:pt>
    <dgm:pt modelId="{CD555763-BC8B-4ACE-85CF-4AC01ED860D8}">
      <dgm:prSet custT="1"/>
      <dgm:spPr/>
      <dgm:t>
        <a:bodyPr/>
        <a:lstStyle/>
        <a:p>
          <a:r>
            <a:rPr lang="es-PE" sz="1000" dirty="0" smtClean="0"/>
            <a:t>Campaña de Actualización email y celular </a:t>
          </a:r>
          <a:endParaRPr lang="es-PE" sz="1000" dirty="0"/>
        </a:p>
      </dgm:t>
    </dgm:pt>
    <dgm:pt modelId="{923E3BE6-5FCC-4FF7-9DF9-1C9C410C4E08}" type="parTrans" cxnId="{1C200752-4687-43F0-958A-34D34ADBBAF9}">
      <dgm:prSet/>
      <dgm:spPr/>
      <dgm:t>
        <a:bodyPr/>
        <a:lstStyle/>
        <a:p>
          <a:endParaRPr lang="es-PE" sz="1000"/>
        </a:p>
      </dgm:t>
    </dgm:pt>
    <dgm:pt modelId="{7E47DD26-4CD0-48E0-8E09-CEC6C6897115}" type="sibTrans" cxnId="{1C200752-4687-43F0-958A-34D34ADBBAF9}">
      <dgm:prSet/>
      <dgm:spPr/>
      <dgm:t>
        <a:bodyPr/>
        <a:lstStyle/>
        <a:p>
          <a:endParaRPr lang="es-PE" sz="1000"/>
        </a:p>
      </dgm:t>
    </dgm:pt>
    <dgm:pt modelId="{0260D017-9119-4231-936B-F5073FEB58A1}">
      <dgm:prSet custT="1"/>
      <dgm:spPr/>
      <dgm:t>
        <a:bodyPr/>
        <a:lstStyle/>
        <a:p>
          <a:r>
            <a:rPr lang="es-PE" sz="1000" dirty="0" smtClean="0"/>
            <a:t>Procedimiento RUC Activo con la confirmación de capacidad operativa</a:t>
          </a:r>
          <a:endParaRPr lang="es-PE" sz="1000" dirty="0"/>
        </a:p>
      </dgm:t>
    </dgm:pt>
    <dgm:pt modelId="{A63BCD70-2AEE-45A2-B03C-E215B863E0F7}" type="parTrans" cxnId="{612996D5-241F-43F2-A5B4-3E00BBD25C03}">
      <dgm:prSet/>
      <dgm:spPr/>
      <dgm:t>
        <a:bodyPr/>
        <a:lstStyle/>
        <a:p>
          <a:endParaRPr lang="es-PE" sz="1000"/>
        </a:p>
      </dgm:t>
    </dgm:pt>
    <dgm:pt modelId="{C41224FC-E7A8-444C-A523-F61CF01DEE45}" type="sibTrans" cxnId="{612996D5-241F-43F2-A5B4-3E00BBD25C03}">
      <dgm:prSet/>
      <dgm:spPr/>
      <dgm:t>
        <a:bodyPr/>
        <a:lstStyle/>
        <a:p>
          <a:endParaRPr lang="es-PE" sz="1000"/>
        </a:p>
      </dgm:t>
    </dgm:pt>
    <dgm:pt modelId="{063317E2-27BD-4EB1-AC29-3609E78F61AE}">
      <dgm:prSet custT="1"/>
      <dgm:spPr/>
      <dgm:t>
        <a:bodyPr/>
        <a:lstStyle/>
        <a:p>
          <a:r>
            <a:rPr lang="es-PE" sz="1000" b="1" dirty="0" smtClean="0"/>
            <a:t>Controles electrónicos a la autorización y emisión de </a:t>
          </a:r>
          <a:r>
            <a:rPr lang="es-PE" sz="1000" b="1" dirty="0" err="1" smtClean="0"/>
            <a:t>CdP</a:t>
          </a:r>
          <a:endParaRPr lang="es-PE" sz="1000" dirty="0"/>
        </a:p>
      </dgm:t>
    </dgm:pt>
    <dgm:pt modelId="{49CCDD51-703A-43A7-89D8-E7978131A522}" type="parTrans" cxnId="{57A7D09E-7EE9-4BD9-8D66-5FE9D7EF9D0A}">
      <dgm:prSet/>
      <dgm:spPr/>
      <dgm:t>
        <a:bodyPr/>
        <a:lstStyle/>
        <a:p>
          <a:endParaRPr lang="es-PE" sz="1000"/>
        </a:p>
      </dgm:t>
    </dgm:pt>
    <dgm:pt modelId="{E82CCB4D-1ABF-4FAE-A13B-2CB196EBD79C}" type="sibTrans" cxnId="{57A7D09E-7EE9-4BD9-8D66-5FE9D7EF9D0A}">
      <dgm:prSet/>
      <dgm:spPr/>
      <dgm:t>
        <a:bodyPr/>
        <a:lstStyle/>
        <a:p>
          <a:endParaRPr lang="es-PE" sz="1000"/>
        </a:p>
      </dgm:t>
    </dgm:pt>
    <dgm:pt modelId="{3B961C88-49F9-4C74-A742-22BC6112AA43}">
      <dgm:prSet custT="1"/>
      <dgm:spPr/>
      <dgm:t>
        <a:bodyPr/>
        <a:lstStyle/>
        <a:p>
          <a:r>
            <a:rPr lang="es-PE" sz="1000" dirty="0" smtClean="0"/>
            <a:t>Alertas de inconsistencias en el CPE</a:t>
          </a:r>
          <a:endParaRPr lang="es-PE" sz="1000" dirty="0"/>
        </a:p>
      </dgm:t>
    </dgm:pt>
    <dgm:pt modelId="{AC9516F3-3C13-49AA-836A-C15851F5D5D6}" type="parTrans" cxnId="{5B4281C4-8C3F-4985-B2E0-B5F124335000}">
      <dgm:prSet/>
      <dgm:spPr/>
      <dgm:t>
        <a:bodyPr/>
        <a:lstStyle/>
        <a:p>
          <a:endParaRPr lang="es-PE" sz="1000"/>
        </a:p>
      </dgm:t>
    </dgm:pt>
    <dgm:pt modelId="{59E4B709-4F2D-4550-9231-0ED41C780AE2}" type="sibTrans" cxnId="{5B4281C4-8C3F-4985-B2E0-B5F124335000}">
      <dgm:prSet/>
      <dgm:spPr/>
      <dgm:t>
        <a:bodyPr/>
        <a:lstStyle/>
        <a:p>
          <a:endParaRPr lang="es-PE" sz="1000"/>
        </a:p>
      </dgm:t>
    </dgm:pt>
    <dgm:pt modelId="{3A60EAB2-F55E-4CB5-83F5-2BE0C197D425}">
      <dgm:prSet custT="1"/>
      <dgm:spPr>
        <a:solidFill>
          <a:srgbClr val="FFFF00"/>
        </a:solidFill>
      </dgm:spPr>
      <dgm:t>
        <a:bodyPr/>
        <a:lstStyle/>
        <a:p>
          <a:r>
            <a:rPr lang="es-PE" sz="1000" dirty="0" smtClean="0"/>
            <a:t>Restricción a la Autorización de </a:t>
          </a:r>
          <a:r>
            <a:rPr lang="es-PE" sz="1000" dirty="0" err="1" smtClean="0"/>
            <a:t>CdP</a:t>
          </a:r>
          <a:endParaRPr lang="es-PE" sz="1000" dirty="0"/>
        </a:p>
      </dgm:t>
    </dgm:pt>
    <dgm:pt modelId="{4BECC003-82E9-4C9D-9AE4-CEFB628D5422}" type="parTrans" cxnId="{D2636468-2D5C-4135-911B-81475D6898C2}">
      <dgm:prSet/>
      <dgm:spPr/>
      <dgm:t>
        <a:bodyPr/>
        <a:lstStyle/>
        <a:p>
          <a:endParaRPr lang="es-PE" sz="1000"/>
        </a:p>
      </dgm:t>
    </dgm:pt>
    <dgm:pt modelId="{D5478B97-4728-4B69-857D-1ED58A3B632F}" type="sibTrans" cxnId="{D2636468-2D5C-4135-911B-81475D6898C2}">
      <dgm:prSet/>
      <dgm:spPr/>
      <dgm:t>
        <a:bodyPr/>
        <a:lstStyle/>
        <a:p>
          <a:endParaRPr lang="es-PE" sz="1000"/>
        </a:p>
      </dgm:t>
    </dgm:pt>
    <dgm:pt modelId="{8009C9A0-BEF2-4F45-A9B0-AC833D7C7D48}">
      <dgm:prSet custT="1"/>
      <dgm:spPr/>
      <dgm:t>
        <a:bodyPr/>
        <a:lstStyle/>
        <a:p>
          <a:r>
            <a:rPr lang="es-PE" sz="1000" dirty="0" smtClean="0"/>
            <a:t>Limitación de </a:t>
          </a:r>
          <a:r>
            <a:rPr lang="es-PE" sz="1000" dirty="0" err="1" smtClean="0"/>
            <a:t>CdP</a:t>
          </a:r>
          <a:r>
            <a:rPr lang="es-PE" sz="1000" dirty="0" smtClean="0"/>
            <a:t> Autorizados</a:t>
          </a:r>
          <a:endParaRPr lang="es-PE" sz="1000" dirty="0"/>
        </a:p>
      </dgm:t>
    </dgm:pt>
    <dgm:pt modelId="{A1AECA17-618F-470F-9AFF-5364FBEA26FB}" type="parTrans" cxnId="{E5AF206F-300D-4E20-844F-7C47691B5DFE}">
      <dgm:prSet/>
      <dgm:spPr/>
      <dgm:t>
        <a:bodyPr/>
        <a:lstStyle/>
        <a:p>
          <a:endParaRPr lang="es-PE" sz="1000"/>
        </a:p>
      </dgm:t>
    </dgm:pt>
    <dgm:pt modelId="{793379C5-93F9-4C0C-AD80-FBE420B21F69}" type="sibTrans" cxnId="{E5AF206F-300D-4E20-844F-7C47691B5DFE}">
      <dgm:prSet/>
      <dgm:spPr/>
      <dgm:t>
        <a:bodyPr/>
        <a:lstStyle/>
        <a:p>
          <a:endParaRPr lang="es-PE" sz="1000"/>
        </a:p>
      </dgm:t>
    </dgm:pt>
    <dgm:pt modelId="{A61703E0-0DC6-4C08-B3D5-4EE38F3BD3DF}">
      <dgm:prSet custT="1"/>
      <dgm:spPr/>
      <dgm:t>
        <a:bodyPr/>
        <a:lstStyle/>
        <a:p>
          <a:r>
            <a:rPr lang="es-PE" sz="1000" dirty="0" smtClean="0"/>
            <a:t>Restricción a la Emisión de </a:t>
          </a:r>
          <a:r>
            <a:rPr lang="es-PE" sz="1000" dirty="0" err="1" smtClean="0"/>
            <a:t>CdP</a:t>
          </a:r>
          <a:r>
            <a:rPr lang="es-PE" sz="1000" dirty="0" smtClean="0"/>
            <a:t> (web </a:t>
          </a:r>
          <a:r>
            <a:rPr lang="es-PE" sz="1000" dirty="0" err="1" smtClean="0"/>
            <a:t>services</a:t>
          </a:r>
          <a:r>
            <a:rPr lang="es-PE" sz="1000" dirty="0" smtClean="0"/>
            <a:t>)</a:t>
          </a:r>
          <a:endParaRPr lang="es-PE" sz="1000" dirty="0"/>
        </a:p>
      </dgm:t>
    </dgm:pt>
    <dgm:pt modelId="{21FD61D4-A81F-4FDF-8C0E-B97FE3C813D3}" type="parTrans" cxnId="{2998BF2D-91E4-4A70-8237-27FD181B0788}">
      <dgm:prSet/>
      <dgm:spPr/>
      <dgm:t>
        <a:bodyPr/>
        <a:lstStyle/>
        <a:p>
          <a:endParaRPr lang="es-PE" sz="1000"/>
        </a:p>
      </dgm:t>
    </dgm:pt>
    <dgm:pt modelId="{81D9C0B8-505B-4728-9328-4A600007F1C3}" type="sibTrans" cxnId="{2998BF2D-91E4-4A70-8237-27FD181B0788}">
      <dgm:prSet/>
      <dgm:spPr/>
      <dgm:t>
        <a:bodyPr/>
        <a:lstStyle/>
        <a:p>
          <a:endParaRPr lang="es-PE" sz="1000"/>
        </a:p>
      </dgm:t>
    </dgm:pt>
    <dgm:pt modelId="{EB87F310-99C6-451F-88D9-085BE3F1CC22}">
      <dgm:prSet custT="1"/>
      <dgm:spPr/>
      <dgm:t>
        <a:bodyPr/>
        <a:lstStyle/>
        <a:p>
          <a:r>
            <a:rPr lang="es-PE" sz="1000" dirty="0" smtClean="0"/>
            <a:t>Restricción a la Emisión de CPE</a:t>
          </a:r>
          <a:endParaRPr lang="es-PE" sz="1000" dirty="0"/>
        </a:p>
      </dgm:t>
    </dgm:pt>
    <dgm:pt modelId="{E700FACC-6271-47F6-A730-FF7B5C1A358B}" type="parTrans" cxnId="{CB6AB4F6-4DCA-414F-B007-E0AF4D7CF0A1}">
      <dgm:prSet/>
      <dgm:spPr/>
      <dgm:t>
        <a:bodyPr/>
        <a:lstStyle/>
        <a:p>
          <a:endParaRPr lang="es-PE" sz="1000"/>
        </a:p>
      </dgm:t>
    </dgm:pt>
    <dgm:pt modelId="{12F16E6E-0D73-4B5E-952E-B943C65968DA}" type="sibTrans" cxnId="{CB6AB4F6-4DCA-414F-B007-E0AF4D7CF0A1}">
      <dgm:prSet/>
      <dgm:spPr/>
      <dgm:t>
        <a:bodyPr/>
        <a:lstStyle/>
        <a:p>
          <a:endParaRPr lang="es-PE" sz="1000"/>
        </a:p>
      </dgm:t>
    </dgm:pt>
    <dgm:pt modelId="{E59B3495-37B3-4C6F-A44D-5402BC40E91D}">
      <dgm:prSet custT="1"/>
      <dgm:spPr/>
      <dgm:t>
        <a:bodyPr/>
        <a:lstStyle/>
        <a:p>
          <a:r>
            <a:rPr lang="es-PE" sz="1000" dirty="0" smtClean="0"/>
            <a:t>Comprobante de contingencia al CPE</a:t>
          </a:r>
          <a:endParaRPr lang="es-PE" sz="1000" dirty="0"/>
        </a:p>
      </dgm:t>
    </dgm:pt>
    <dgm:pt modelId="{A19335BB-6F44-45C9-A8E9-53E4D15807C0}" type="parTrans" cxnId="{A9223A5F-6B69-482D-B718-9B769095BE7C}">
      <dgm:prSet/>
      <dgm:spPr/>
      <dgm:t>
        <a:bodyPr/>
        <a:lstStyle/>
        <a:p>
          <a:endParaRPr lang="es-PE" sz="1000"/>
        </a:p>
      </dgm:t>
    </dgm:pt>
    <dgm:pt modelId="{F7905188-11B9-484F-BD91-63B0051FE10D}" type="sibTrans" cxnId="{A9223A5F-6B69-482D-B718-9B769095BE7C}">
      <dgm:prSet/>
      <dgm:spPr/>
      <dgm:t>
        <a:bodyPr/>
        <a:lstStyle/>
        <a:p>
          <a:endParaRPr lang="es-PE" sz="1000"/>
        </a:p>
      </dgm:t>
    </dgm:pt>
    <dgm:pt modelId="{CF66BBB3-E722-4F8B-BCA9-CAC23B0F5D61}">
      <dgm:prSet custT="1"/>
      <dgm:spPr/>
      <dgm:t>
        <a:bodyPr/>
        <a:lstStyle/>
        <a:p>
          <a:r>
            <a:rPr lang="es-PE" sz="1000" b="1" dirty="0" smtClean="0"/>
            <a:t>Control del registro de compras y ventas electrónico (RCVE)</a:t>
          </a:r>
          <a:endParaRPr lang="es-PE" sz="1000" dirty="0"/>
        </a:p>
      </dgm:t>
    </dgm:pt>
    <dgm:pt modelId="{10C0749A-8CEE-41D4-9E07-14DCAA6ADD3C}" type="parTrans" cxnId="{D57E4D77-6077-46A8-BC33-4B23AD38273B}">
      <dgm:prSet/>
      <dgm:spPr/>
      <dgm:t>
        <a:bodyPr/>
        <a:lstStyle/>
        <a:p>
          <a:endParaRPr lang="es-PE" sz="1000"/>
        </a:p>
      </dgm:t>
    </dgm:pt>
    <dgm:pt modelId="{3C0C5FB0-DCB5-4C3C-8CAF-14766C6F7A89}" type="sibTrans" cxnId="{D57E4D77-6077-46A8-BC33-4B23AD38273B}">
      <dgm:prSet/>
      <dgm:spPr/>
      <dgm:t>
        <a:bodyPr/>
        <a:lstStyle/>
        <a:p>
          <a:endParaRPr lang="es-PE" sz="1000"/>
        </a:p>
      </dgm:t>
    </dgm:pt>
    <dgm:pt modelId="{ED8E86B8-FC95-42F9-A754-7EF09CA76970}">
      <dgm:prSet custT="1"/>
      <dgm:spPr/>
      <dgm:t>
        <a:bodyPr/>
        <a:lstStyle/>
        <a:p>
          <a:r>
            <a:rPr lang="es-PE" sz="1000" dirty="0" smtClean="0"/>
            <a:t>Campaña de omisos al RVCE</a:t>
          </a:r>
          <a:endParaRPr lang="es-PE" sz="1000" dirty="0"/>
        </a:p>
      </dgm:t>
    </dgm:pt>
    <dgm:pt modelId="{F8B088BC-07F4-43DD-94E6-4BA2AD31C1BA}" type="parTrans" cxnId="{9FD921A8-A7BF-468B-9333-E0AD956C8F38}">
      <dgm:prSet/>
      <dgm:spPr/>
      <dgm:t>
        <a:bodyPr/>
        <a:lstStyle/>
        <a:p>
          <a:endParaRPr lang="es-PE" sz="1000"/>
        </a:p>
      </dgm:t>
    </dgm:pt>
    <dgm:pt modelId="{946A9B8A-7E2A-46B2-84A0-E52191BECC1A}" type="sibTrans" cxnId="{9FD921A8-A7BF-468B-9333-E0AD956C8F38}">
      <dgm:prSet/>
      <dgm:spPr/>
      <dgm:t>
        <a:bodyPr/>
        <a:lstStyle/>
        <a:p>
          <a:endParaRPr lang="es-PE" sz="1000"/>
        </a:p>
      </dgm:t>
    </dgm:pt>
    <dgm:pt modelId="{783E5226-3A92-4D2B-A180-6A3A43CD9D0A}">
      <dgm:prSet custT="1"/>
      <dgm:spPr/>
      <dgm:t>
        <a:bodyPr/>
        <a:lstStyle/>
        <a:p>
          <a:r>
            <a:rPr lang="es-PE" sz="1000" dirty="0" smtClean="0"/>
            <a:t>Padrón de omisos a la presentación del RCVE</a:t>
          </a:r>
          <a:endParaRPr lang="es-PE" sz="1000" dirty="0"/>
        </a:p>
      </dgm:t>
    </dgm:pt>
    <dgm:pt modelId="{E01AB6D9-ECB1-495A-A700-A0CB2C7F0F06}" type="parTrans" cxnId="{8559703D-515D-46F2-B7AE-B7042D912FF5}">
      <dgm:prSet/>
      <dgm:spPr/>
      <dgm:t>
        <a:bodyPr/>
        <a:lstStyle/>
        <a:p>
          <a:endParaRPr lang="es-PE" sz="1000"/>
        </a:p>
      </dgm:t>
    </dgm:pt>
    <dgm:pt modelId="{F8F883F3-A41C-43CC-BC6B-12425F4C7A0C}" type="sibTrans" cxnId="{8559703D-515D-46F2-B7AE-B7042D912FF5}">
      <dgm:prSet/>
      <dgm:spPr/>
      <dgm:t>
        <a:bodyPr/>
        <a:lstStyle/>
        <a:p>
          <a:endParaRPr lang="es-PE" sz="1000"/>
        </a:p>
      </dgm:t>
    </dgm:pt>
    <dgm:pt modelId="{B6BF926F-18B7-451F-B182-E9660B5BC37F}">
      <dgm:prSet custT="1"/>
      <dgm:spPr/>
      <dgm:t>
        <a:bodyPr/>
        <a:lstStyle/>
        <a:p>
          <a:r>
            <a:rPr lang="es-PE" sz="1000" dirty="0" smtClean="0"/>
            <a:t>Control de omisos con padrón de RCVE</a:t>
          </a:r>
          <a:endParaRPr lang="es-PE" sz="1000" dirty="0"/>
        </a:p>
      </dgm:t>
    </dgm:pt>
    <dgm:pt modelId="{2A5FBFE2-5313-4FF2-9B48-3F2A80607A6B}" type="parTrans" cxnId="{6AA56B9D-2865-4027-A58B-6E1DD7CC85B6}">
      <dgm:prSet/>
      <dgm:spPr/>
      <dgm:t>
        <a:bodyPr/>
        <a:lstStyle/>
        <a:p>
          <a:endParaRPr lang="es-PE" sz="1000"/>
        </a:p>
      </dgm:t>
    </dgm:pt>
    <dgm:pt modelId="{800E5D08-F1EF-4F25-8876-456D9DFC5895}" type="sibTrans" cxnId="{6AA56B9D-2865-4027-A58B-6E1DD7CC85B6}">
      <dgm:prSet/>
      <dgm:spPr/>
      <dgm:t>
        <a:bodyPr/>
        <a:lstStyle/>
        <a:p>
          <a:endParaRPr lang="es-PE" sz="1000"/>
        </a:p>
      </dgm:t>
    </dgm:pt>
    <dgm:pt modelId="{FAAEFADD-987A-4F86-AD0D-512489C91ADE}">
      <dgm:prSet custT="1"/>
      <dgm:spPr/>
      <dgm:t>
        <a:bodyPr/>
        <a:lstStyle/>
        <a:p>
          <a:r>
            <a:rPr lang="es-PE" sz="1000" dirty="0" smtClean="0"/>
            <a:t>Campaña Masiva de RCVE</a:t>
          </a:r>
          <a:endParaRPr lang="es-PE" sz="1000" dirty="0"/>
        </a:p>
      </dgm:t>
    </dgm:pt>
    <dgm:pt modelId="{1ABF0688-0035-4739-8B9E-151A6960CC41}" type="parTrans" cxnId="{DD631E5E-04BF-42FC-A7E2-B6242E4D324D}">
      <dgm:prSet/>
      <dgm:spPr/>
      <dgm:t>
        <a:bodyPr/>
        <a:lstStyle/>
        <a:p>
          <a:endParaRPr lang="es-PE" sz="1000"/>
        </a:p>
      </dgm:t>
    </dgm:pt>
    <dgm:pt modelId="{8F9A86D5-7E6B-4E50-BAF9-064AC9873682}" type="sibTrans" cxnId="{DD631E5E-04BF-42FC-A7E2-B6242E4D324D}">
      <dgm:prSet/>
      <dgm:spPr/>
      <dgm:t>
        <a:bodyPr/>
        <a:lstStyle/>
        <a:p>
          <a:endParaRPr lang="es-PE" sz="1000"/>
        </a:p>
      </dgm:t>
    </dgm:pt>
    <dgm:pt modelId="{0EA240B4-38C4-44ED-AAE0-FC26B4195074}">
      <dgm:prSet custT="1"/>
      <dgm:spPr/>
      <dgm:t>
        <a:bodyPr/>
        <a:lstStyle/>
        <a:p>
          <a:r>
            <a:rPr lang="es-PE" sz="1000" b="1" dirty="0" smtClean="0"/>
            <a:t>Control de Declaración IGV - Renta Mensual</a:t>
          </a:r>
          <a:endParaRPr lang="es-PE" sz="1000" dirty="0"/>
        </a:p>
      </dgm:t>
    </dgm:pt>
    <dgm:pt modelId="{0D651E1B-9B6A-40C8-87A3-0B21D9431F64}" type="parTrans" cxnId="{EE984A8B-5CE6-439E-8AB3-C8855C7345EC}">
      <dgm:prSet/>
      <dgm:spPr/>
      <dgm:t>
        <a:bodyPr/>
        <a:lstStyle/>
        <a:p>
          <a:endParaRPr lang="es-PE" sz="1000"/>
        </a:p>
      </dgm:t>
    </dgm:pt>
    <dgm:pt modelId="{3A512E17-B58A-48F4-855E-5227B34AE877}" type="sibTrans" cxnId="{EE984A8B-5CE6-439E-8AB3-C8855C7345EC}">
      <dgm:prSet/>
      <dgm:spPr/>
      <dgm:t>
        <a:bodyPr/>
        <a:lstStyle/>
        <a:p>
          <a:endParaRPr lang="es-PE" sz="1000"/>
        </a:p>
      </dgm:t>
    </dgm:pt>
    <dgm:pt modelId="{450BB744-1B14-4FC5-B0BB-9D94A1919235}">
      <dgm:prSet custT="1"/>
      <dgm:spPr/>
      <dgm:t>
        <a:bodyPr/>
        <a:lstStyle/>
        <a:p>
          <a:r>
            <a:rPr lang="es-PE" sz="1000" dirty="0" smtClean="0"/>
            <a:t>Reemplazo de PDT por Declara Fácil con propuesta de DJ</a:t>
          </a:r>
          <a:endParaRPr lang="es-PE" sz="1000" dirty="0"/>
        </a:p>
      </dgm:t>
    </dgm:pt>
    <dgm:pt modelId="{73F4B14B-5D13-414C-8AF2-417624317AA0}" type="parTrans" cxnId="{44F917A5-93BB-4535-9A26-F25BE4599B9F}">
      <dgm:prSet/>
      <dgm:spPr/>
      <dgm:t>
        <a:bodyPr/>
        <a:lstStyle/>
        <a:p>
          <a:endParaRPr lang="es-PE" sz="1000"/>
        </a:p>
      </dgm:t>
    </dgm:pt>
    <dgm:pt modelId="{A557781C-9F9E-409E-93CC-4626C0536E64}" type="sibTrans" cxnId="{44F917A5-93BB-4535-9A26-F25BE4599B9F}">
      <dgm:prSet/>
      <dgm:spPr/>
      <dgm:t>
        <a:bodyPr/>
        <a:lstStyle/>
        <a:p>
          <a:endParaRPr lang="es-PE" sz="1000"/>
        </a:p>
      </dgm:t>
    </dgm:pt>
    <dgm:pt modelId="{F480E6E5-B70D-4802-91BD-FE05849AA170}">
      <dgm:prSet custT="1"/>
      <dgm:spPr>
        <a:solidFill>
          <a:srgbClr val="FFFF00"/>
        </a:solidFill>
      </dgm:spPr>
      <dgm:t>
        <a:bodyPr/>
        <a:lstStyle/>
        <a:p>
          <a:r>
            <a:rPr lang="es-PE" sz="1000" b="0" dirty="0" smtClean="0"/>
            <a:t>Reporte de consistencia del crédito presentado en el RCE con el Declara Fácil IGV Renta Mensual</a:t>
          </a:r>
          <a:endParaRPr lang="es-PE" sz="1000" dirty="0"/>
        </a:p>
      </dgm:t>
    </dgm:pt>
    <dgm:pt modelId="{06C02DC4-3F48-4FB9-B7D0-A758A6F4CB7D}" type="parTrans" cxnId="{4314FBD8-EA1C-44F3-A21D-D6FB3834E2D9}">
      <dgm:prSet/>
      <dgm:spPr/>
      <dgm:t>
        <a:bodyPr/>
        <a:lstStyle/>
        <a:p>
          <a:endParaRPr lang="es-PE" sz="1000"/>
        </a:p>
      </dgm:t>
    </dgm:pt>
    <dgm:pt modelId="{ACA303CE-EBC6-4884-99F2-0984FEEC2BDC}" type="sibTrans" cxnId="{4314FBD8-EA1C-44F3-A21D-D6FB3834E2D9}">
      <dgm:prSet/>
      <dgm:spPr/>
      <dgm:t>
        <a:bodyPr/>
        <a:lstStyle/>
        <a:p>
          <a:endParaRPr lang="es-PE" sz="1000"/>
        </a:p>
      </dgm:t>
    </dgm:pt>
    <dgm:pt modelId="{8870271A-E916-4593-88B3-36DC9BFAF10B}">
      <dgm:prSet custT="1"/>
      <dgm:spPr/>
      <dgm:t>
        <a:bodyPr/>
        <a:lstStyle/>
        <a:p>
          <a:r>
            <a:rPr lang="es-PE" sz="1000" dirty="0" smtClean="0"/>
            <a:t>Determinación de omisos a la DJ del IGV Renta Mensual</a:t>
          </a:r>
          <a:endParaRPr lang="es-PE" sz="1000" dirty="0"/>
        </a:p>
      </dgm:t>
    </dgm:pt>
    <dgm:pt modelId="{519AC2DA-5622-4884-9875-71D8890034C2}" type="parTrans" cxnId="{7DB14713-EE7F-4036-8AAB-6110CB475004}">
      <dgm:prSet/>
      <dgm:spPr/>
      <dgm:t>
        <a:bodyPr/>
        <a:lstStyle/>
        <a:p>
          <a:endParaRPr lang="es-PE" sz="1000"/>
        </a:p>
      </dgm:t>
    </dgm:pt>
    <dgm:pt modelId="{4F492BD6-34A0-4A88-8B78-4DACEA3060FC}" type="sibTrans" cxnId="{7DB14713-EE7F-4036-8AAB-6110CB475004}">
      <dgm:prSet/>
      <dgm:spPr/>
      <dgm:t>
        <a:bodyPr/>
        <a:lstStyle/>
        <a:p>
          <a:endParaRPr lang="es-PE" sz="1000"/>
        </a:p>
      </dgm:t>
    </dgm:pt>
    <dgm:pt modelId="{D1224561-2B71-4A33-BB85-D90D09242BBB}">
      <dgm:prSet custT="1"/>
      <dgm:spPr/>
      <dgm:t>
        <a:bodyPr/>
        <a:lstStyle/>
        <a:p>
          <a:r>
            <a:rPr lang="es-PE" sz="1000" dirty="0" smtClean="0"/>
            <a:t>Actualización en línea de las presentaciones de DJ - MEPECO</a:t>
          </a:r>
          <a:endParaRPr lang="es-PE" sz="1000" dirty="0"/>
        </a:p>
      </dgm:t>
    </dgm:pt>
    <dgm:pt modelId="{7D9B9703-2721-4071-BFE3-C61D5E254D1D}" type="parTrans" cxnId="{C13B68FB-DF37-46C9-8BBF-3EEE96A15B4E}">
      <dgm:prSet/>
      <dgm:spPr/>
      <dgm:t>
        <a:bodyPr/>
        <a:lstStyle/>
        <a:p>
          <a:endParaRPr lang="es-PE" sz="1000"/>
        </a:p>
      </dgm:t>
    </dgm:pt>
    <dgm:pt modelId="{EDC2B632-487E-4652-869D-B3689C6920CE}" type="sibTrans" cxnId="{C13B68FB-DF37-46C9-8BBF-3EEE96A15B4E}">
      <dgm:prSet/>
      <dgm:spPr/>
      <dgm:t>
        <a:bodyPr/>
        <a:lstStyle/>
        <a:p>
          <a:endParaRPr lang="es-PE" sz="1000"/>
        </a:p>
      </dgm:t>
    </dgm:pt>
    <dgm:pt modelId="{DB207B05-199E-4FC1-BFE9-260AC9289BEC}">
      <dgm:prSet custT="1"/>
      <dgm:spPr/>
      <dgm:t>
        <a:bodyPr/>
        <a:lstStyle/>
        <a:p>
          <a:r>
            <a:rPr lang="es-PE" sz="1000" b="1" dirty="0" smtClean="0"/>
            <a:t>Fiscalización: Gestión Masiva de Inconsistencias</a:t>
          </a:r>
          <a:endParaRPr lang="es-PE" sz="1000" dirty="0"/>
        </a:p>
      </dgm:t>
    </dgm:pt>
    <dgm:pt modelId="{004A1139-A8D8-419E-AD33-019D4A53288B}" type="parTrans" cxnId="{1DA21D23-5949-474C-838E-C63A2CB8DA96}">
      <dgm:prSet/>
      <dgm:spPr/>
      <dgm:t>
        <a:bodyPr/>
        <a:lstStyle/>
        <a:p>
          <a:endParaRPr lang="es-PE" sz="1000"/>
        </a:p>
      </dgm:t>
    </dgm:pt>
    <dgm:pt modelId="{32F07B8E-F5D1-465A-B7E2-6C544C3490DC}" type="sibTrans" cxnId="{1DA21D23-5949-474C-838E-C63A2CB8DA96}">
      <dgm:prSet/>
      <dgm:spPr/>
      <dgm:t>
        <a:bodyPr/>
        <a:lstStyle/>
        <a:p>
          <a:endParaRPr lang="es-PE" sz="1000"/>
        </a:p>
      </dgm:t>
    </dgm:pt>
    <dgm:pt modelId="{FF9A1D1F-B679-4035-8988-EC9272FA5847}">
      <dgm:prSet custT="1"/>
      <dgm:spPr/>
      <dgm:t>
        <a:bodyPr/>
        <a:lstStyle/>
        <a:p>
          <a:r>
            <a:rPr lang="es-PE" sz="1000" dirty="0" smtClean="0"/>
            <a:t>Programa de Gestión Masiva de Inconsistencias RCVE</a:t>
          </a:r>
          <a:endParaRPr lang="es-PE" sz="1000" dirty="0"/>
        </a:p>
      </dgm:t>
    </dgm:pt>
    <dgm:pt modelId="{08DCE355-D590-4B8E-802C-D1603CC035FA}" type="parTrans" cxnId="{E8EAA90F-B589-4B90-844F-B29351DA9D5C}">
      <dgm:prSet/>
      <dgm:spPr/>
      <dgm:t>
        <a:bodyPr/>
        <a:lstStyle/>
        <a:p>
          <a:endParaRPr lang="es-PE" sz="1000"/>
        </a:p>
      </dgm:t>
    </dgm:pt>
    <dgm:pt modelId="{0EA39366-B7C8-4F34-8150-2B06222999AE}" type="sibTrans" cxnId="{E8EAA90F-B589-4B90-844F-B29351DA9D5C}">
      <dgm:prSet/>
      <dgm:spPr/>
      <dgm:t>
        <a:bodyPr/>
        <a:lstStyle/>
        <a:p>
          <a:endParaRPr lang="es-PE" sz="1000"/>
        </a:p>
      </dgm:t>
    </dgm:pt>
    <dgm:pt modelId="{C53EB2CB-A4A7-42C1-ABDC-482F25104D90}">
      <dgm:prSet custT="1"/>
      <dgm:spPr/>
      <dgm:t>
        <a:bodyPr/>
        <a:lstStyle/>
        <a:p>
          <a:r>
            <a:rPr lang="es-PE" sz="1000" dirty="0" smtClean="0"/>
            <a:t>Nuevo CCV que integra el Gema WEB                                                                                                                                                                                                                                                                                    </a:t>
          </a:r>
          <a:endParaRPr lang="es-PE" sz="1000" dirty="0"/>
        </a:p>
      </dgm:t>
    </dgm:pt>
    <dgm:pt modelId="{8CC0FFD0-E578-43E0-8B9E-D611EA5E45FF}" type="parTrans" cxnId="{62796755-9BD4-445B-8F41-FD08994CCFD9}">
      <dgm:prSet/>
      <dgm:spPr/>
      <dgm:t>
        <a:bodyPr/>
        <a:lstStyle/>
        <a:p>
          <a:endParaRPr lang="es-PE" sz="1000"/>
        </a:p>
      </dgm:t>
    </dgm:pt>
    <dgm:pt modelId="{7200EB01-AA6B-4B91-BF95-5E6775C06F03}" type="sibTrans" cxnId="{62796755-9BD4-445B-8F41-FD08994CCFD9}">
      <dgm:prSet/>
      <dgm:spPr/>
      <dgm:t>
        <a:bodyPr/>
        <a:lstStyle/>
        <a:p>
          <a:endParaRPr lang="es-PE" sz="1000"/>
        </a:p>
      </dgm:t>
    </dgm:pt>
    <dgm:pt modelId="{1632036F-9A7E-40FB-B92C-CC697B53B432}">
      <dgm:prSet custT="1"/>
      <dgm:spPr/>
      <dgm:t>
        <a:bodyPr/>
        <a:lstStyle/>
        <a:p>
          <a:r>
            <a:rPr lang="es-PE" sz="1000" dirty="0" smtClean="0"/>
            <a:t>Gestionar a través del SINE y SIEV las cartas inductivas</a:t>
          </a:r>
          <a:endParaRPr lang="es-PE" sz="1000" dirty="0"/>
        </a:p>
      </dgm:t>
    </dgm:pt>
    <dgm:pt modelId="{04A48A20-FDBA-49E5-AA1A-FE0BB34F9AD7}" type="parTrans" cxnId="{6BDD7238-6D66-4D5C-97C0-64F74A4AE202}">
      <dgm:prSet/>
      <dgm:spPr/>
      <dgm:t>
        <a:bodyPr/>
        <a:lstStyle/>
        <a:p>
          <a:endParaRPr lang="es-PE" sz="1000"/>
        </a:p>
      </dgm:t>
    </dgm:pt>
    <dgm:pt modelId="{A3725B3B-DB03-434F-A03E-D68B339838EF}" type="sibTrans" cxnId="{6BDD7238-6D66-4D5C-97C0-64F74A4AE202}">
      <dgm:prSet/>
      <dgm:spPr/>
      <dgm:t>
        <a:bodyPr/>
        <a:lstStyle/>
        <a:p>
          <a:endParaRPr lang="es-PE" sz="1000"/>
        </a:p>
      </dgm:t>
    </dgm:pt>
    <dgm:pt modelId="{DDFB15C2-BF16-4383-B43E-7592FE332335}">
      <dgm:prSet custT="1"/>
      <dgm:spPr/>
      <dgm:t>
        <a:bodyPr/>
        <a:lstStyle/>
        <a:p>
          <a:r>
            <a:rPr lang="es-PE" sz="1000" dirty="0" smtClean="0"/>
            <a:t>Utilización del CRM como soporte a las campañas de gestión inductiva</a:t>
          </a:r>
          <a:endParaRPr lang="es-PE" sz="1000" dirty="0"/>
        </a:p>
      </dgm:t>
    </dgm:pt>
    <dgm:pt modelId="{5B973356-7140-4BC6-8BF7-97065A84EBD5}" type="parTrans" cxnId="{892BF5DD-EDFF-4EF4-A8D4-C6C85E8BB347}">
      <dgm:prSet/>
      <dgm:spPr/>
      <dgm:t>
        <a:bodyPr/>
        <a:lstStyle/>
        <a:p>
          <a:endParaRPr lang="es-PE" sz="1000"/>
        </a:p>
      </dgm:t>
    </dgm:pt>
    <dgm:pt modelId="{350A6452-9402-4FA1-AC4B-F72CF3D6F667}" type="sibTrans" cxnId="{892BF5DD-EDFF-4EF4-A8D4-C6C85E8BB347}">
      <dgm:prSet/>
      <dgm:spPr/>
      <dgm:t>
        <a:bodyPr/>
        <a:lstStyle/>
        <a:p>
          <a:endParaRPr lang="es-PE" sz="1000"/>
        </a:p>
      </dgm:t>
    </dgm:pt>
    <dgm:pt modelId="{162A159F-316C-44C7-94B7-5A9CA71EC76B}">
      <dgm:prSet custT="1"/>
      <dgm:spPr/>
      <dgm:t>
        <a:bodyPr/>
        <a:lstStyle/>
        <a:p>
          <a:r>
            <a:rPr lang="es-PE" sz="1000" b="1" dirty="0" smtClean="0"/>
            <a:t>Fiscalización: Gestión Selectiva de control del IGV</a:t>
          </a:r>
          <a:endParaRPr lang="es-PE" sz="1000" dirty="0"/>
        </a:p>
      </dgm:t>
    </dgm:pt>
    <dgm:pt modelId="{37C2EDC9-7AA7-40B3-939F-B7B1E9FDCCE7}" type="parTrans" cxnId="{CAD942CC-774B-43F4-8E8E-14C17BA97732}">
      <dgm:prSet/>
      <dgm:spPr/>
      <dgm:t>
        <a:bodyPr/>
        <a:lstStyle/>
        <a:p>
          <a:endParaRPr lang="es-PE" sz="1000"/>
        </a:p>
      </dgm:t>
    </dgm:pt>
    <dgm:pt modelId="{2E23D031-B615-4A8E-AFBA-A961F6547686}" type="sibTrans" cxnId="{CAD942CC-774B-43F4-8E8E-14C17BA97732}">
      <dgm:prSet/>
      <dgm:spPr/>
      <dgm:t>
        <a:bodyPr/>
        <a:lstStyle/>
        <a:p>
          <a:endParaRPr lang="es-PE" sz="1000"/>
        </a:p>
      </dgm:t>
    </dgm:pt>
    <dgm:pt modelId="{D384E35D-0B36-4D34-9DD7-A9B2213E793C}">
      <dgm:prSet custT="1"/>
      <dgm:spPr/>
      <dgm:t>
        <a:bodyPr/>
        <a:lstStyle/>
        <a:p>
          <a:r>
            <a:rPr lang="es-PE" sz="1000" dirty="0" smtClean="0"/>
            <a:t>Seleccionar contribuyentes para el control del crédito fiscal</a:t>
          </a:r>
          <a:endParaRPr lang="es-PE" sz="1000" dirty="0"/>
        </a:p>
      </dgm:t>
    </dgm:pt>
    <dgm:pt modelId="{A8D4E333-5BE9-4AD9-B1B8-53094812856D}" type="parTrans" cxnId="{C4C44AFE-35B7-4EDE-87F4-DFA02BA4274E}">
      <dgm:prSet/>
      <dgm:spPr/>
      <dgm:t>
        <a:bodyPr/>
        <a:lstStyle/>
        <a:p>
          <a:endParaRPr lang="es-PE" sz="1000"/>
        </a:p>
      </dgm:t>
    </dgm:pt>
    <dgm:pt modelId="{7E1CF15C-442E-4A01-9C70-F25600D33D53}" type="sibTrans" cxnId="{C4C44AFE-35B7-4EDE-87F4-DFA02BA4274E}">
      <dgm:prSet/>
      <dgm:spPr/>
      <dgm:t>
        <a:bodyPr/>
        <a:lstStyle/>
        <a:p>
          <a:endParaRPr lang="es-PE" sz="1000"/>
        </a:p>
      </dgm:t>
    </dgm:pt>
    <dgm:pt modelId="{561CE160-6066-41CE-8DC9-CD2071A6369A}">
      <dgm:prSet custT="1"/>
      <dgm:spPr>
        <a:solidFill>
          <a:srgbClr val="FFFF00"/>
        </a:solidFill>
      </dgm:spPr>
      <dgm:t>
        <a:bodyPr/>
        <a:lstStyle/>
        <a:p>
          <a:r>
            <a:rPr lang="es-PE" sz="1000" dirty="0" smtClean="0"/>
            <a:t>Seleccionar contribuyentes para el control del incremento patrimonial no justificado</a:t>
          </a:r>
          <a:endParaRPr lang="es-PE" sz="1000" dirty="0"/>
        </a:p>
      </dgm:t>
    </dgm:pt>
    <dgm:pt modelId="{842D5979-06D0-4138-82C4-C1B80A339224}" type="parTrans" cxnId="{5017593B-787B-4B96-B63B-E63FFD0BBB4E}">
      <dgm:prSet/>
      <dgm:spPr/>
      <dgm:t>
        <a:bodyPr/>
        <a:lstStyle/>
        <a:p>
          <a:endParaRPr lang="es-PE" sz="1000"/>
        </a:p>
      </dgm:t>
    </dgm:pt>
    <dgm:pt modelId="{21BD719B-61C0-4A65-9EC7-F67C37CF4DED}" type="sibTrans" cxnId="{5017593B-787B-4B96-B63B-E63FFD0BBB4E}">
      <dgm:prSet/>
      <dgm:spPr/>
      <dgm:t>
        <a:bodyPr/>
        <a:lstStyle/>
        <a:p>
          <a:endParaRPr lang="es-PE" sz="1000"/>
        </a:p>
      </dgm:t>
    </dgm:pt>
    <dgm:pt modelId="{4E0EC977-049C-4A55-BDC3-6D725E3FC7EB}">
      <dgm:prSet custT="1"/>
      <dgm:spPr/>
      <dgm:t>
        <a:bodyPr/>
        <a:lstStyle/>
        <a:p>
          <a:r>
            <a:rPr lang="es-PE" sz="1000" dirty="0" smtClean="0"/>
            <a:t>Implementar formato y receptor del flujo de caja en portal de la SUNAT</a:t>
          </a:r>
          <a:endParaRPr lang="es-PE" sz="1000" dirty="0"/>
        </a:p>
      </dgm:t>
    </dgm:pt>
    <dgm:pt modelId="{1092028B-3910-4D16-9DA4-1CB054F05F3F}" type="parTrans" cxnId="{895A90C6-D936-4A0B-AC77-F7CEAFE90721}">
      <dgm:prSet/>
      <dgm:spPr/>
      <dgm:t>
        <a:bodyPr/>
        <a:lstStyle/>
        <a:p>
          <a:endParaRPr lang="es-PE" sz="1000"/>
        </a:p>
      </dgm:t>
    </dgm:pt>
    <dgm:pt modelId="{9640B16A-4EF9-4B53-95DB-A01809E70F1C}" type="sibTrans" cxnId="{895A90C6-D936-4A0B-AC77-F7CEAFE90721}">
      <dgm:prSet/>
      <dgm:spPr/>
      <dgm:t>
        <a:bodyPr/>
        <a:lstStyle/>
        <a:p>
          <a:endParaRPr lang="es-PE" sz="1000"/>
        </a:p>
      </dgm:t>
    </dgm:pt>
    <dgm:pt modelId="{FEB45A86-037C-41E8-9592-DD6A43B633DE}">
      <dgm:prSet custT="1"/>
      <dgm:spPr/>
      <dgm:t>
        <a:bodyPr/>
        <a:lstStyle/>
        <a:p>
          <a:r>
            <a:rPr lang="es-PE" sz="1000" dirty="0" smtClean="0"/>
            <a:t>Programa de control del IGV</a:t>
          </a:r>
          <a:endParaRPr lang="es-PE" sz="1000" dirty="0"/>
        </a:p>
      </dgm:t>
    </dgm:pt>
    <dgm:pt modelId="{4DF5EE0A-16C7-4FED-B3DD-A907904D91A4}" type="parTrans" cxnId="{DC09F870-40C9-434B-A0A5-FC34DC344927}">
      <dgm:prSet/>
      <dgm:spPr/>
      <dgm:t>
        <a:bodyPr/>
        <a:lstStyle/>
        <a:p>
          <a:endParaRPr lang="es-PE" sz="1000"/>
        </a:p>
      </dgm:t>
    </dgm:pt>
    <dgm:pt modelId="{672C3D16-864B-4475-B25B-4023FF56A3E1}" type="sibTrans" cxnId="{DC09F870-40C9-434B-A0A5-FC34DC344927}">
      <dgm:prSet/>
      <dgm:spPr/>
      <dgm:t>
        <a:bodyPr/>
        <a:lstStyle/>
        <a:p>
          <a:endParaRPr lang="es-PE" sz="1000"/>
        </a:p>
      </dgm:t>
    </dgm:pt>
    <dgm:pt modelId="{83D08804-73EE-435F-83C9-FD3E82683334}">
      <dgm:prSet custT="1"/>
      <dgm:spPr/>
      <dgm:t>
        <a:bodyPr/>
        <a:lstStyle/>
        <a:p>
          <a:r>
            <a:rPr lang="es-PE" sz="1000" b="1" dirty="0" smtClean="0"/>
            <a:t>Fiscalización Parcial Electrónica del IGV</a:t>
          </a:r>
          <a:endParaRPr lang="es-PE" sz="1000" dirty="0"/>
        </a:p>
      </dgm:t>
    </dgm:pt>
    <dgm:pt modelId="{FD36B6B0-D982-464D-9946-EBA135659477}" type="parTrans" cxnId="{E85AE77F-2A91-4A47-BB03-0C4AADA71190}">
      <dgm:prSet/>
      <dgm:spPr/>
      <dgm:t>
        <a:bodyPr/>
        <a:lstStyle/>
        <a:p>
          <a:endParaRPr lang="es-PE" sz="1000"/>
        </a:p>
      </dgm:t>
    </dgm:pt>
    <dgm:pt modelId="{EB4C90FA-A31E-46FA-BAC8-34220526F5A8}" type="sibTrans" cxnId="{E85AE77F-2A91-4A47-BB03-0C4AADA71190}">
      <dgm:prSet/>
      <dgm:spPr/>
      <dgm:t>
        <a:bodyPr/>
        <a:lstStyle/>
        <a:p>
          <a:endParaRPr lang="es-PE" sz="1000"/>
        </a:p>
      </dgm:t>
    </dgm:pt>
    <dgm:pt modelId="{6E20F264-1CF1-45D8-9057-F2EB155AD4D2}">
      <dgm:prSet custT="1"/>
      <dgm:spPr/>
      <dgm:t>
        <a:bodyPr/>
        <a:lstStyle/>
        <a:p>
          <a:r>
            <a:rPr lang="es-PE" sz="1000" dirty="0" smtClean="0"/>
            <a:t>Piloto de fiscalización parcial electrónica de comprobantes duplicados</a:t>
          </a:r>
          <a:endParaRPr lang="es-PE" sz="1000" dirty="0"/>
        </a:p>
      </dgm:t>
    </dgm:pt>
    <dgm:pt modelId="{E5B3377E-3EEF-4C95-9A28-17646C571D69}" type="parTrans" cxnId="{D9C7D835-B8DB-4033-80B6-50C0725D060F}">
      <dgm:prSet/>
      <dgm:spPr/>
      <dgm:t>
        <a:bodyPr/>
        <a:lstStyle/>
        <a:p>
          <a:endParaRPr lang="es-PE" sz="1000"/>
        </a:p>
      </dgm:t>
    </dgm:pt>
    <dgm:pt modelId="{A28FEB74-DE9B-4D4C-8990-EC6A10E6A350}" type="sibTrans" cxnId="{D9C7D835-B8DB-4033-80B6-50C0725D060F}">
      <dgm:prSet/>
      <dgm:spPr/>
      <dgm:t>
        <a:bodyPr/>
        <a:lstStyle/>
        <a:p>
          <a:endParaRPr lang="es-PE" sz="1000"/>
        </a:p>
      </dgm:t>
    </dgm:pt>
    <dgm:pt modelId="{0648A065-FF7C-4A05-9DCC-264FA4D8A98C}">
      <dgm:prSet custT="1"/>
      <dgm:spPr/>
      <dgm:t>
        <a:bodyPr/>
        <a:lstStyle/>
        <a:p>
          <a:r>
            <a:rPr lang="es-PE" sz="1000" dirty="0" smtClean="0"/>
            <a:t>Fiscalización parcial electrónica de diferencias entre RCVE y DJ de IGV</a:t>
          </a:r>
          <a:endParaRPr lang="es-PE" sz="1000" dirty="0"/>
        </a:p>
      </dgm:t>
    </dgm:pt>
    <dgm:pt modelId="{00B55C57-2E12-4BEB-84EB-69AEE031B1C7}" type="parTrans" cxnId="{7AC2190B-941D-4DB0-8A6C-DC5915D60879}">
      <dgm:prSet/>
      <dgm:spPr/>
      <dgm:t>
        <a:bodyPr/>
        <a:lstStyle/>
        <a:p>
          <a:endParaRPr lang="es-PE" sz="1000"/>
        </a:p>
      </dgm:t>
    </dgm:pt>
    <dgm:pt modelId="{9B0ECCBE-6817-4FFB-B93B-76FB7AB1D123}" type="sibTrans" cxnId="{7AC2190B-941D-4DB0-8A6C-DC5915D60879}">
      <dgm:prSet/>
      <dgm:spPr/>
      <dgm:t>
        <a:bodyPr/>
        <a:lstStyle/>
        <a:p>
          <a:endParaRPr lang="es-PE" sz="1000"/>
        </a:p>
      </dgm:t>
    </dgm:pt>
    <dgm:pt modelId="{AA7BFDCA-266A-4946-8948-C36670E19CDF}">
      <dgm:prSet custT="1"/>
      <dgm:spPr>
        <a:solidFill>
          <a:srgbClr val="FFFF00"/>
        </a:solidFill>
      </dgm:spPr>
      <dgm:t>
        <a:bodyPr/>
        <a:lstStyle/>
        <a:p>
          <a:r>
            <a:rPr lang="es-PE" sz="1000" dirty="0" smtClean="0"/>
            <a:t>Matriz: Perfil de Riesgo del Contribuyente (PRC)</a:t>
          </a:r>
          <a:endParaRPr lang="es-PE" sz="1000" dirty="0"/>
        </a:p>
      </dgm:t>
    </dgm:pt>
    <dgm:pt modelId="{60EFCFE5-E5ED-4FF3-9B26-604F64883CC6}" type="sibTrans" cxnId="{D9FF3A03-0617-46E8-9ADC-4B2FA45A4483}">
      <dgm:prSet/>
      <dgm:spPr/>
      <dgm:t>
        <a:bodyPr/>
        <a:lstStyle/>
        <a:p>
          <a:endParaRPr lang="es-PE" sz="1000"/>
        </a:p>
      </dgm:t>
    </dgm:pt>
    <dgm:pt modelId="{678B5BF5-DE40-4174-8553-7B2436BCD1B0}" type="parTrans" cxnId="{D9FF3A03-0617-46E8-9ADC-4B2FA45A4483}">
      <dgm:prSet/>
      <dgm:spPr/>
      <dgm:t>
        <a:bodyPr/>
        <a:lstStyle/>
        <a:p>
          <a:endParaRPr lang="es-PE" sz="1000"/>
        </a:p>
      </dgm:t>
    </dgm:pt>
    <dgm:pt modelId="{EE6DACCE-6E0D-4B5E-A904-F6535983F9C7}">
      <dgm:prSet custT="1"/>
      <dgm:spPr/>
      <dgm:t>
        <a:bodyPr/>
        <a:lstStyle/>
        <a:p>
          <a:r>
            <a:rPr lang="es-PE" sz="1000" dirty="0" smtClean="0"/>
            <a:t>Incorporar vinculaciones a los ONR</a:t>
          </a:r>
          <a:endParaRPr lang="es-PE" sz="1000" dirty="0"/>
        </a:p>
      </dgm:t>
    </dgm:pt>
    <dgm:pt modelId="{CEA5D59B-2C40-49EE-9B13-7A906B7A9544}" type="sibTrans" cxnId="{C29A75E6-5C97-43F6-9C8A-5AF693C1B555}">
      <dgm:prSet/>
      <dgm:spPr/>
      <dgm:t>
        <a:bodyPr/>
        <a:lstStyle/>
        <a:p>
          <a:endParaRPr lang="es-PE" sz="1000"/>
        </a:p>
      </dgm:t>
    </dgm:pt>
    <dgm:pt modelId="{014BB544-7E6C-4818-A772-3DD88A4F5EC0}" type="parTrans" cxnId="{C29A75E6-5C97-43F6-9C8A-5AF693C1B555}">
      <dgm:prSet/>
      <dgm:spPr/>
      <dgm:t>
        <a:bodyPr/>
        <a:lstStyle/>
        <a:p>
          <a:endParaRPr lang="es-PE" sz="1000"/>
        </a:p>
      </dgm:t>
    </dgm:pt>
    <dgm:pt modelId="{3CC5D1DA-0AF9-494F-B9EF-F7F90FFA4C7E}">
      <dgm:prSet custT="1"/>
      <dgm:spPr/>
      <dgm:t>
        <a:bodyPr/>
        <a:lstStyle/>
        <a:p>
          <a:r>
            <a:rPr lang="es-PE" sz="1000" dirty="0" smtClean="0"/>
            <a:t>Reglas de selección para la gestión masiva y selectiva del IGV</a:t>
          </a:r>
          <a:endParaRPr lang="es-PE" sz="1000" dirty="0"/>
        </a:p>
      </dgm:t>
    </dgm:pt>
    <dgm:pt modelId="{2F84CAAD-6410-48A6-81F0-30223279C3FF}" type="sibTrans" cxnId="{CD2A1BBE-431D-4CD6-93D0-6F8D166A8FB2}">
      <dgm:prSet/>
      <dgm:spPr/>
      <dgm:t>
        <a:bodyPr/>
        <a:lstStyle/>
        <a:p>
          <a:endParaRPr lang="es-PE" sz="1000"/>
        </a:p>
      </dgm:t>
    </dgm:pt>
    <dgm:pt modelId="{EA0B94CF-1B66-4C3A-BFBE-8396F605E9A2}" type="parTrans" cxnId="{CD2A1BBE-431D-4CD6-93D0-6F8D166A8FB2}">
      <dgm:prSet/>
      <dgm:spPr/>
      <dgm:t>
        <a:bodyPr/>
        <a:lstStyle/>
        <a:p>
          <a:endParaRPr lang="es-PE" sz="1000"/>
        </a:p>
      </dgm:t>
    </dgm:pt>
    <dgm:pt modelId="{51D2767D-A37A-4C96-88A1-E9DB74959CE2}">
      <dgm:prSet custT="1"/>
      <dgm:spPr/>
      <dgm:t>
        <a:bodyPr/>
        <a:lstStyle/>
        <a:p>
          <a:r>
            <a:rPr lang="es-PE" sz="1000" dirty="0" smtClean="0"/>
            <a:t>Variables de inconsistencias del RCVE</a:t>
          </a:r>
          <a:endParaRPr lang="es-PE" sz="1000" dirty="0"/>
        </a:p>
      </dgm:t>
    </dgm:pt>
    <dgm:pt modelId="{BCA292AD-FE78-456A-8522-744D0E0EEA3F}" type="sibTrans" cxnId="{3FA391A7-661D-44FA-9EA2-396E4F9C55C5}">
      <dgm:prSet/>
      <dgm:spPr/>
      <dgm:t>
        <a:bodyPr/>
        <a:lstStyle/>
        <a:p>
          <a:endParaRPr lang="es-PE"/>
        </a:p>
      </dgm:t>
    </dgm:pt>
    <dgm:pt modelId="{D102250A-8368-4A0F-AB0D-B93DE73D3128}" type="parTrans" cxnId="{3FA391A7-661D-44FA-9EA2-396E4F9C55C5}">
      <dgm:prSet/>
      <dgm:spPr/>
      <dgm:t>
        <a:bodyPr/>
        <a:lstStyle/>
        <a:p>
          <a:endParaRPr lang="es-PE"/>
        </a:p>
      </dgm:t>
    </dgm:pt>
    <dgm:pt modelId="{BB76A996-7D36-4BE3-9AE5-E35058E01F08}">
      <dgm:prSet custT="1"/>
      <dgm:spPr/>
      <dgm:t>
        <a:bodyPr/>
        <a:lstStyle/>
        <a:p>
          <a:r>
            <a:rPr lang="es-PE" sz="1000" dirty="0" smtClean="0"/>
            <a:t>Plan de Información de PN</a:t>
          </a:r>
          <a:endParaRPr lang="es-PE" sz="1000" dirty="0"/>
        </a:p>
      </dgm:t>
    </dgm:pt>
    <dgm:pt modelId="{73A890BA-0A6F-4B83-9035-AD39F89F67F3}" type="parTrans" cxnId="{8CD304C2-5679-4A3B-B382-0EB6252DD567}">
      <dgm:prSet/>
      <dgm:spPr/>
      <dgm:t>
        <a:bodyPr/>
        <a:lstStyle/>
        <a:p>
          <a:endParaRPr lang="es-PE"/>
        </a:p>
      </dgm:t>
    </dgm:pt>
    <dgm:pt modelId="{E8B82259-4BBA-4314-B806-808488654885}" type="sibTrans" cxnId="{8CD304C2-5679-4A3B-B382-0EB6252DD567}">
      <dgm:prSet/>
      <dgm:spPr/>
      <dgm:t>
        <a:bodyPr/>
        <a:lstStyle/>
        <a:p>
          <a:endParaRPr lang="es-PE"/>
        </a:p>
      </dgm:t>
    </dgm:pt>
    <dgm:pt modelId="{057BB54A-B147-4D1B-96F4-0A8032ABFE16}">
      <dgm:prSet custT="1"/>
      <dgm:spPr/>
      <dgm:t>
        <a:bodyPr/>
        <a:lstStyle/>
        <a:p>
          <a:r>
            <a:rPr lang="es-PE" sz="1000" dirty="0" smtClean="0"/>
            <a:t>Retroalimentar el PRC</a:t>
          </a:r>
          <a:endParaRPr lang="es-PE" sz="1000" dirty="0"/>
        </a:p>
      </dgm:t>
    </dgm:pt>
    <dgm:pt modelId="{6CCC5378-D74F-471C-BA51-AAABBB897A87}" type="parTrans" cxnId="{3697378E-ABDE-4466-9BCD-B180E0164F14}">
      <dgm:prSet/>
      <dgm:spPr/>
      <dgm:t>
        <a:bodyPr/>
        <a:lstStyle/>
        <a:p>
          <a:endParaRPr lang="es-PE"/>
        </a:p>
      </dgm:t>
    </dgm:pt>
    <dgm:pt modelId="{DA31BACD-C189-424E-A253-5A5D90E093CF}" type="sibTrans" cxnId="{3697378E-ABDE-4466-9BCD-B180E0164F14}">
      <dgm:prSet/>
      <dgm:spPr/>
      <dgm:t>
        <a:bodyPr/>
        <a:lstStyle/>
        <a:p>
          <a:endParaRPr lang="es-PE"/>
        </a:p>
      </dgm:t>
    </dgm:pt>
    <dgm:pt modelId="{47C64183-8A6F-4A65-82C5-ED56FA4B8575}" type="pres">
      <dgm:prSet presAssocID="{EB5ED610-0DBB-4FA8-9FC0-63ED81091EDD}" presName="hierChild1" presStyleCnt="0">
        <dgm:presLayoutVars>
          <dgm:orgChart val="1"/>
          <dgm:chPref val="1"/>
          <dgm:dir/>
          <dgm:animOne val="branch"/>
          <dgm:animLvl val="lvl"/>
          <dgm:resizeHandles/>
        </dgm:presLayoutVars>
      </dgm:prSet>
      <dgm:spPr/>
      <dgm:t>
        <a:bodyPr/>
        <a:lstStyle/>
        <a:p>
          <a:endParaRPr lang="es-PE"/>
        </a:p>
      </dgm:t>
    </dgm:pt>
    <dgm:pt modelId="{769C6205-7306-4D24-AB83-1234E08B377F}" type="pres">
      <dgm:prSet presAssocID="{1EDBA414-4513-4658-BE65-B7DBAEB08201}" presName="hierRoot1" presStyleCnt="0">
        <dgm:presLayoutVars>
          <dgm:hierBranch val="init"/>
        </dgm:presLayoutVars>
      </dgm:prSet>
      <dgm:spPr/>
    </dgm:pt>
    <dgm:pt modelId="{768CB81E-A711-4B0B-BBA0-77EFF5086C52}" type="pres">
      <dgm:prSet presAssocID="{1EDBA414-4513-4658-BE65-B7DBAEB08201}" presName="rootComposite1" presStyleCnt="0"/>
      <dgm:spPr/>
    </dgm:pt>
    <dgm:pt modelId="{C5E765D9-302B-41FA-8B02-A3200280D571}" type="pres">
      <dgm:prSet presAssocID="{1EDBA414-4513-4658-BE65-B7DBAEB08201}" presName="rootText1" presStyleLbl="node0" presStyleIdx="0" presStyleCnt="1" custScaleX="264547">
        <dgm:presLayoutVars>
          <dgm:chPref val="3"/>
        </dgm:presLayoutVars>
      </dgm:prSet>
      <dgm:spPr/>
      <dgm:t>
        <a:bodyPr/>
        <a:lstStyle/>
        <a:p>
          <a:endParaRPr lang="es-PE"/>
        </a:p>
      </dgm:t>
    </dgm:pt>
    <dgm:pt modelId="{B7A99655-78EF-427C-9357-3FC7084E15A4}" type="pres">
      <dgm:prSet presAssocID="{1EDBA414-4513-4658-BE65-B7DBAEB08201}" presName="rootConnector1" presStyleLbl="node1" presStyleIdx="0" presStyleCnt="0"/>
      <dgm:spPr/>
      <dgm:t>
        <a:bodyPr/>
        <a:lstStyle/>
        <a:p>
          <a:endParaRPr lang="es-PE"/>
        </a:p>
      </dgm:t>
    </dgm:pt>
    <dgm:pt modelId="{6BB7AC20-16C3-4C8E-A6A2-EEEE51C8E16A}" type="pres">
      <dgm:prSet presAssocID="{1EDBA414-4513-4658-BE65-B7DBAEB08201}" presName="hierChild2" presStyleCnt="0"/>
      <dgm:spPr/>
    </dgm:pt>
    <dgm:pt modelId="{39F3AD5A-A39F-4DEA-8AE0-F10C1E466C92}" type="pres">
      <dgm:prSet presAssocID="{89C43FC3-2D04-4B16-88FC-3BAFD3961ECC}" presName="Name37" presStyleLbl="parChTrans1D2" presStyleIdx="0" presStyleCnt="9"/>
      <dgm:spPr/>
      <dgm:t>
        <a:bodyPr/>
        <a:lstStyle/>
        <a:p>
          <a:endParaRPr lang="es-PE"/>
        </a:p>
      </dgm:t>
    </dgm:pt>
    <dgm:pt modelId="{C5E5DFA1-8F7A-492E-B947-C9F4B5036C5A}" type="pres">
      <dgm:prSet presAssocID="{724B850C-CB70-44AD-BD85-E4612A5059A1}" presName="hierRoot2" presStyleCnt="0">
        <dgm:presLayoutVars>
          <dgm:hierBranch val="init"/>
        </dgm:presLayoutVars>
      </dgm:prSet>
      <dgm:spPr/>
    </dgm:pt>
    <dgm:pt modelId="{B9BD1C76-F9A7-44D8-B7D3-F1176922533E}" type="pres">
      <dgm:prSet presAssocID="{724B850C-CB70-44AD-BD85-E4612A5059A1}" presName="rootComposite" presStyleCnt="0"/>
      <dgm:spPr/>
    </dgm:pt>
    <dgm:pt modelId="{5403D548-CF74-42F7-9EA0-AEA67917D21F}" type="pres">
      <dgm:prSet presAssocID="{724B850C-CB70-44AD-BD85-E4612A5059A1}" presName="rootText" presStyleLbl="node2" presStyleIdx="0" presStyleCnt="9" custScaleY="141077">
        <dgm:presLayoutVars>
          <dgm:chPref val="3"/>
        </dgm:presLayoutVars>
      </dgm:prSet>
      <dgm:spPr/>
      <dgm:t>
        <a:bodyPr/>
        <a:lstStyle/>
        <a:p>
          <a:endParaRPr lang="es-PE"/>
        </a:p>
      </dgm:t>
    </dgm:pt>
    <dgm:pt modelId="{740313E9-E71E-45B0-A902-9045A41E28E5}" type="pres">
      <dgm:prSet presAssocID="{724B850C-CB70-44AD-BD85-E4612A5059A1}" presName="rootConnector" presStyleLbl="node2" presStyleIdx="0" presStyleCnt="9"/>
      <dgm:spPr/>
      <dgm:t>
        <a:bodyPr/>
        <a:lstStyle/>
        <a:p>
          <a:endParaRPr lang="es-PE"/>
        </a:p>
      </dgm:t>
    </dgm:pt>
    <dgm:pt modelId="{C91F8A0C-CB73-48CB-A58A-342FA5B04051}" type="pres">
      <dgm:prSet presAssocID="{724B850C-CB70-44AD-BD85-E4612A5059A1}" presName="hierChild4" presStyleCnt="0"/>
      <dgm:spPr/>
    </dgm:pt>
    <dgm:pt modelId="{2BF61BE6-465E-496A-AFA2-D1C5D63D0857}" type="pres">
      <dgm:prSet presAssocID="{8EDF6A87-EA2F-4D43-9623-B2BC544CDCE5}" presName="Name37" presStyleLbl="parChTrans1D3" presStyleIdx="0" presStyleCnt="34"/>
      <dgm:spPr/>
      <dgm:t>
        <a:bodyPr/>
        <a:lstStyle/>
        <a:p>
          <a:endParaRPr lang="es-PE"/>
        </a:p>
      </dgm:t>
    </dgm:pt>
    <dgm:pt modelId="{9AAF2C32-51A7-4539-BF49-9D132A17FF38}" type="pres">
      <dgm:prSet presAssocID="{56C0A437-954D-44F4-912F-8784204FC4D6}" presName="hierRoot2" presStyleCnt="0">
        <dgm:presLayoutVars>
          <dgm:hierBranch val="init"/>
        </dgm:presLayoutVars>
      </dgm:prSet>
      <dgm:spPr/>
    </dgm:pt>
    <dgm:pt modelId="{68A42209-2F45-4560-8D18-9B5F34415DEE}" type="pres">
      <dgm:prSet presAssocID="{56C0A437-954D-44F4-912F-8784204FC4D6}" presName="rootComposite" presStyleCnt="0"/>
      <dgm:spPr/>
    </dgm:pt>
    <dgm:pt modelId="{A8248B19-B15E-4BFE-A834-5D85D43FF535}" type="pres">
      <dgm:prSet presAssocID="{56C0A437-954D-44F4-912F-8784204FC4D6}" presName="rootText" presStyleLbl="node3" presStyleIdx="0" presStyleCnt="34" custScaleY="132717">
        <dgm:presLayoutVars>
          <dgm:chPref val="3"/>
        </dgm:presLayoutVars>
      </dgm:prSet>
      <dgm:spPr/>
      <dgm:t>
        <a:bodyPr/>
        <a:lstStyle/>
        <a:p>
          <a:endParaRPr lang="es-PE"/>
        </a:p>
      </dgm:t>
    </dgm:pt>
    <dgm:pt modelId="{41771B42-CB05-4089-937F-EC6B52F62EC3}" type="pres">
      <dgm:prSet presAssocID="{56C0A437-954D-44F4-912F-8784204FC4D6}" presName="rootConnector" presStyleLbl="node3" presStyleIdx="0" presStyleCnt="34"/>
      <dgm:spPr/>
      <dgm:t>
        <a:bodyPr/>
        <a:lstStyle/>
        <a:p>
          <a:endParaRPr lang="es-PE"/>
        </a:p>
      </dgm:t>
    </dgm:pt>
    <dgm:pt modelId="{3E21C6FC-5984-4A9E-8A0D-9D6E57F59647}" type="pres">
      <dgm:prSet presAssocID="{56C0A437-954D-44F4-912F-8784204FC4D6}" presName="hierChild4" presStyleCnt="0"/>
      <dgm:spPr/>
    </dgm:pt>
    <dgm:pt modelId="{C884255F-0DFB-4FF3-ABFF-9FF33BB31A73}" type="pres">
      <dgm:prSet presAssocID="{56C0A437-954D-44F4-912F-8784204FC4D6}" presName="hierChild5" presStyleCnt="0"/>
      <dgm:spPr/>
    </dgm:pt>
    <dgm:pt modelId="{AD845BBC-16D5-46BB-9684-35EE829008A0}" type="pres">
      <dgm:prSet presAssocID="{187AE46A-3C30-4F40-90FC-F6D1858E66C2}" presName="Name37" presStyleLbl="parChTrans1D3" presStyleIdx="1" presStyleCnt="34"/>
      <dgm:spPr/>
      <dgm:t>
        <a:bodyPr/>
        <a:lstStyle/>
        <a:p>
          <a:endParaRPr lang="es-PE"/>
        </a:p>
      </dgm:t>
    </dgm:pt>
    <dgm:pt modelId="{3365F889-F1A1-480F-B014-8905EEB14463}" type="pres">
      <dgm:prSet presAssocID="{65E9CE21-23B3-45AE-A4B9-66EF1B0F6D07}" presName="hierRoot2" presStyleCnt="0">
        <dgm:presLayoutVars>
          <dgm:hierBranch val="init"/>
        </dgm:presLayoutVars>
      </dgm:prSet>
      <dgm:spPr/>
    </dgm:pt>
    <dgm:pt modelId="{619592AF-721D-40CC-96BF-9D51E64615AE}" type="pres">
      <dgm:prSet presAssocID="{65E9CE21-23B3-45AE-A4B9-66EF1B0F6D07}" presName="rootComposite" presStyleCnt="0"/>
      <dgm:spPr/>
    </dgm:pt>
    <dgm:pt modelId="{42923A24-9FF0-47DA-A9BD-3E1050CAF217}" type="pres">
      <dgm:prSet presAssocID="{65E9CE21-23B3-45AE-A4B9-66EF1B0F6D07}" presName="rootText" presStyleLbl="node3" presStyleIdx="1" presStyleCnt="34" custScaleY="132717">
        <dgm:presLayoutVars>
          <dgm:chPref val="3"/>
        </dgm:presLayoutVars>
      </dgm:prSet>
      <dgm:spPr/>
      <dgm:t>
        <a:bodyPr/>
        <a:lstStyle/>
        <a:p>
          <a:endParaRPr lang="es-PE"/>
        </a:p>
      </dgm:t>
    </dgm:pt>
    <dgm:pt modelId="{D138691D-C139-4868-A6AD-7EDD3DFB9FAE}" type="pres">
      <dgm:prSet presAssocID="{65E9CE21-23B3-45AE-A4B9-66EF1B0F6D07}" presName="rootConnector" presStyleLbl="node3" presStyleIdx="1" presStyleCnt="34"/>
      <dgm:spPr/>
      <dgm:t>
        <a:bodyPr/>
        <a:lstStyle/>
        <a:p>
          <a:endParaRPr lang="es-PE"/>
        </a:p>
      </dgm:t>
    </dgm:pt>
    <dgm:pt modelId="{44C0FC10-0612-4855-88E5-D025A1907B18}" type="pres">
      <dgm:prSet presAssocID="{65E9CE21-23B3-45AE-A4B9-66EF1B0F6D07}" presName="hierChild4" presStyleCnt="0"/>
      <dgm:spPr/>
    </dgm:pt>
    <dgm:pt modelId="{51656CDE-4FF5-4032-9B8F-CC2D4234F049}" type="pres">
      <dgm:prSet presAssocID="{65E9CE21-23B3-45AE-A4B9-66EF1B0F6D07}" presName="hierChild5" presStyleCnt="0"/>
      <dgm:spPr/>
    </dgm:pt>
    <dgm:pt modelId="{B2FA10BA-1EBA-4689-B3D4-3583D5657FB3}" type="pres">
      <dgm:prSet presAssocID="{73A890BA-0A6F-4B83-9035-AD39F89F67F3}" presName="Name37" presStyleLbl="parChTrans1D3" presStyleIdx="2" presStyleCnt="34"/>
      <dgm:spPr/>
      <dgm:t>
        <a:bodyPr/>
        <a:lstStyle/>
        <a:p>
          <a:endParaRPr lang="es-PE"/>
        </a:p>
      </dgm:t>
    </dgm:pt>
    <dgm:pt modelId="{CAB97E10-D969-41C4-A6F2-9AED5C50BC56}" type="pres">
      <dgm:prSet presAssocID="{BB76A996-7D36-4BE3-9AE5-E35058E01F08}" presName="hierRoot2" presStyleCnt="0">
        <dgm:presLayoutVars>
          <dgm:hierBranch val="init"/>
        </dgm:presLayoutVars>
      </dgm:prSet>
      <dgm:spPr/>
    </dgm:pt>
    <dgm:pt modelId="{04C64DF2-6C79-40DF-AC4A-175D074FA07B}" type="pres">
      <dgm:prSet presAssocID="{BB76A996-7D36-4BE3-9AE5-E35058E01F08}" presName="rootComposite" presStyleCnt="0"/>
      <dgm:spPr/>
    </dgm:pt>
    <dgm:pt modelId="{29B8DF57-DCEC-467D-B181-AAF34BB64A04}" type="pres">
      <dgm:prSet presAssocID="{BB76A996-7D36-4BE3-9AE5-E35058E01F08}" presName="rootText" presStyleLbl="node3" presStyleIdx="2" presStyleCnt="34">
        <dgm:presLayoutVars>
          <dgm:chPref val="3"/>
        </dgm:presLayoutVars>
      </dgm:prSet>
      <dgm:spPr/>
      <dgm:t>
        <a:bodyPr/>
        <a:lstStyle/>
        <a:p>
          <a:endParaRPr lang="es-PE"/>
        </a:p>
      </dgm:t>
    </dgm:pt>
    <dgm:pt modelId="{347408BE-D6CA-4FD5-9344-550415A1E983}" type="pres">
      <dgm:prSet presAssocID="{BB76A996-7D36-4BE3-9AE5-E35058E01F08}" presName="rootConnector" presStyleLbl="node3" presStyleIdx="2" presStyleCnt="34"/>
      <dgm:spPr/>
      <dgm:t>
        <a:bodyPr/>
        <a:lstStyle/>
        <a:p>
          <a:endParaRPr lang="es-PE"/>
        </a:p>
      </dgm:t>
    </dgm:pt>
    <dgm:pt modelId="{CEFEDE2A-BB10-42E0-B84A-63119AA3C85F}" type="pres">
      <dgm:prSet presAssocID="{BB76A996-7D36-4BE3-9AE5-E35058E01F08}" presName="hierChild4" presStyleCnt="0"/>
      <dgm:spPr/>
    </dgm:pt>
    <dgm:pt modelId="{6CAA2C84-0A95-44EB-81FB-F740E7B82470}" type="pres">
      <dgm:prSet presAssocID="{BB76A996-7D36-4BE3-9AE5-E35058E01F08}" presName="hierChild5" presStyleCnt="0"/>
      <dgm:spPr/>
    </dgm:pt>
    <dgm:pt modelId="{A8BAF255-65F6-41DD-8ED5-CDA0179F5BCC}" type="pres">
      <dgm:prSet presAssocID="{724B850C-CB70-44AD-BD85-E4612A5059A1}" presName="hierChild5" presStyleCnt="0"/>
      <dgm:spPr/>
    </dgm:pt>
    <dgm:pt modelId="{0CC4A12D-7906-4D57-8BB1-A160846422CA}" type="pres">
      <dgm:prSet presAssocID="{C3E5B338-D5BC-478C-93B8-C0DD8C60E202}" presName="Name37" presStyleLbl="parChTrans1D2" presStyleIdx="1" presStyleCnt="9"/>
      <dgm:spPr/>
      <dgm:t>
        <a:bodyPr/>
        <a:lstStyle/>
        <a:p>
          <a:endParaRPr lang="es-PE"/>
        </a:p>
      </dgm:t>
    </dgm:pt>
    <dgm:pt modelId="{25F187E5-C7B6-4F70-BF75-E1FF4FC8898D}" type="pres">
      <dgm:prSet presAssocID="{EDC7976F-F414-41E7-8BE0-618D41801E0F}" presName="hierRoot2" presStyleCnt="0">
        <dgm:presLayoutVars>
          <dgm:hierBranch val="init"/>
        </dgm:presLayoutVars>
      </dgm:prSet>
      <dgm:spPr/>
    </dgm:pt>
    <dgm:pt modelId="{60050952-0234-43CB-913F-598C894352E2}" type="pres">
      <dgm:prSet presAssocID="{EDC7976F-F414-41E7-8BE0-618D41801E0F}" presName="rootComposite" presStyleCnt="0"/>
      <dgm:spPr/>
    </dgm:pt>
    <dgm:pt modelId="{8568E507-BC71-4AA2-AE1B-C7136731764A}" type="pres">
      <dgm:prSet presAssocID="{EDC7976F-F414-41E7-8BE0-618D41801E0F}" presName="rootText" presStyleLbl="node2" presStyleIdx="1" presStyleCnt="9" custScaleY="141077">
        <dgm:presLayoutVars>
          <dgm:chPref val="3"/>
        </dgm:presLayoutVars>
      </dgm:prSet>
      <dgm:spPr/>
      <dgm:t>
        <a:bodyPr/>
        <a:lstStyle/>
        <a:p>
          <a:endParaRPr lang="es-PE"/>
        </a:p>
      </dgm:t>
    </dgm:pt>
    <dgm:pt modelId="{728B2D34-DD20-4722-965A-560BA7BB1884}" type="pres">
      <dgm:prSet presAssocID="{EDC7976F-F414-41E7-8BE0-618D41801E0F}" presName="rootConnector" presStyleLbl="node2" presStyleIdx="1" presStyleCnt="9"/>
      <dgm:spPr/>
      <dgm:t>
        <a:bodyPr/>
        <a:lstStyle/>
        <a:p>
          <a:endParaRPr lang="es-PE"/>
        </a:p>
      </dgm:t>
    </dgm:pt>
    <dgm:pt modelId="{7271CBCA-A164-4620-9E3E-73EDB349168C}" type="pres">
      <dgm:prSet presAssocID="{EDC7976F-F414-41E7-8BE0-618D41801E0F}" presName="hierChild4" presStyleCnt="0"/>
      <dgm:spPr/>
    </dgm:pt>
    <dgm:pt modelId="{3B8351C2-A0DB-4D65-BC7F-C96C9142DE94}" type="pres">
      <dgm:prSet presAssocID="{678B5BF5-DE40-4174-8553-7B2436BCD1B0}" presName="Name37" presStyleLbl="parChTrans1D3" presStyleIdx="3" presStyleCnt="34"/>
      <dgm:spPr/>
      <dgm:t>
        <a:bodyPr/>
        <a:lstStyle/>
        <a:p>
          <a:endParaRPr lang="es-PE"/>
        </a:p>
      </dgm:t>
    </dgm:pt>
    <dgm:pt modelId="{2577D067-2973-4A97-B4B7-892EDABB665C}" type="pres">
      <dgm:prSet presAssocID="{AA7BFDCA-266A-4946-8948-C36670E19CDF}" presName="hierRoot2" presStyleCnt="0">
        <dgm:presLayoutVars>
          <dgm:hierBranch val="init"/>
        </dgm:presLayoutVars>
      </dgm:prSet>
      <dgm:spPr/>
    </dgm:pt>
    <dgm:pt modelId="{7E76F3A3-F883-48DC-B601-D326E8132B0B}" type="pres">
      <dgm:prSet presAssocID="{AA7BFDCA-266A-4946-8948-C36670E19CDF}" presName="rootComposite" presStyleCnt="0"/>
      <dgm:spPr/>
    </dgm:pt>
    <dgm:pt modelId="{5B702B11-CE6D-41B4-9E00-AF6D593397B9}" type="pres">
      <dgm:prSet presAssocID="{AA7BFDCA-266A-4946-8948-C36670E19CDF}" presName="rootText" presStyleLbl="node3" presStyleIdx="3" presStyleCnt="34" custScaleY="132717">
        <dgm:presLayoutVars>
          <dgm:chPref val="3"/>
        </dgm:presLayoutVars>
      </dgm:prSet>
      <dgm:spPr/>
      <dgm:t>
        <a:bodyPr/>
        <a:lstStyle/>
        <a:p>
          <a:endParaRPr lang="es-PE"/>
        </a:p>
      </dgm:t>
    </dgm:pt>
    <dgm:pt modelId="{3058FDBD-24F4-4781-B6ED-3EA1E9FBDFE9}" type="pres">
      <dgm:prSet presAssocID="{AA7BFDCA-266A-4946-8948-C36670E19CDF}" presName="rootConnector" presStyleLbl="node3" presStyleIdx="3" presStyleCnt="34"/>
      <dgm:spPr/>
      <dgm:t>
        <a:bodyPr/>
        <a:lstStyle/>
        <a:p>
          <a:endParaRPr lang="es-PE"/>
        </a:p>
      </dgm:t>
    </dgm:pt>
    <dgm:pt modelId="{B0F9F613-917E-4DD9-9F8A-1A8788C224EB}" type="pres">
      <dgm:prSet presAssocID="{AA7BFDCA-266A-4946-8948-C36670E19CDF}" presName="hierChild4" presStyleCnt="0"/>
      <dgm:spPr/>
    </dgm:pt>
    <dgm:pt modelId="{8F1A3511-C91A-4AE8-98AB-25B1CA0C219F}" type="pres">
      <dgm:prSet presAssocID="{AA7BFDCA-266A-4946-8948-C36670E19CDF}" presName="hierChild5" presStyleCnt="0"/>
      <dgm:spPr/>
    </dgm:pt>
    <dgm:pt modelId="{5FEF9996-6A79-4E0A-BC96-C2D0975D10F2}" type="pres">
      <dgm:prSet presAssocID="{6CCC5378-D74F-471C-BA51-AAABBB897A87}" presName="Name37" presStyleLbl="parChTrans1D3" presStyleIdx="4" presStyleCnt="34"/>
      <dgm:spPr/>
      <dgm:t>
        <a:bodyPr/>
        <a:lstStyle/>
        <a:p>
          <a:endParaRPr lang="es-PE"/>
        </a:p>
      </dgm:t>
    </dgm:pt>
    <dgm:pt modelId="{7073BC30-E22D-4B44-B0EE-EB04E68774BF}" type="pres">
      <dgm:prSet presAssocID="{057BB54A-B147-4D1B-96F4-0A8032ABFE16}" presName="hierRoot2" presStyleCnt="0">
        <dgm:presLayoutVars>
          <dgm:hierBranch val="init"/>
        </dgm:presLayoutVars>
      </dgm:prSet>
      <dgm:spPr/>
    </dgm:pt>
    <dgm:pt modelId="{84E24D3F-D8A9-470C-ACA4-80CF753EB668}" type="pres">
      <dgm:prSet presAssocID="{057BB54A-B147-4D1B-96F4-0A8032ABFE16}" presName="rootComposite" presStyleCnt="0"/>
      <dgm:spPr/>
    </dgm:pt>
    <dgm:pt modelId="{27DE2BBC-84A6-4853-A483-29AAFE979871}" type="pres">
      <dgm:prSet presAssocID="{057BB54A-B147-4D1B-96F4-0A8032ABFE16}" presName="rootText" presStyleLbl="node3" presStyleIdx="4" presStyleCnt="34" custScaleY="132717">
        <dgm:presLayoutVars>
          <dgm:chPref val="3"/>
        </dgm:presLayoutVars>
      </dgm:prSet>
      <dgm:spPr/>
      <dgm:t>
        <a:bodyPr/>
        <a:lstStyle/>
        <a:p>
          <a:endParaRPr lang="es-PE"/>
        </a:p>
      </dgm:t>
    </dgm:pt>
    <dgm:pt modelId="{0B91454A-E479-49D2-BC2C-87F01C98A48F}" type="pres">
      <dgm:prSet presAssocID="{057BB54A-B147-4D1B-96F4-0A8032ABFE16}" presName="rootConnector" presStyleLbl="node3" presStyleIdx="4" presStyleCnt="34"/>
      <dgm:spPr/>
      <dgm:t>
        <a:bodyPr/>
        <a:lstStyle/>
        <a:p>
          <a:endParaRPr lang="es-PE"/>
        </a:p>
      </dgm:t>
    </dgm:pt>
    <dgm:pt modelId="{1553E8B1-38F9-4AA9-B46A-3495BCA0D46B}" type="pres">
      <dgm:prSet presAssocID="{057BB54A-B147-4D1B-96F4-0A8032ABFE16}" presName="hierChild4" presStyleCnt="0"/>
      <dgm:spPr/>
    </dgm:pt>
    <dgm:pt modelId="{B54BAD8F-E846-4A25-99B6-2ACBD514F544}" type="pres">
      <dgm:prSet presAssocID="{057BB54A-B147-4D1B-96F4-0A8032ABFE16}" presName="hierChild5" presStyleCnt="0"/>
      <dgm:spPr/>
    </dgm:pt>
    <dgm:pt modelId="{1DADBFE7-3D4F-474D-86C2-0072875EA706}" type="pres">
      <dgm:prSet presAssocID="{EA0B94CF-1B66-4C3A-BFBE-8396F605E9A2}" presName="Name37" presStyleLbl="parChTrans1D3" presStyleIdx="5" presStyleCnt="34"/>
      <dgm:spPr/>
      <dgm:t>
        <a:bodyPr/>
        <a:lstStyle/>
        <a:p>
          <a:endParaRPr lang="es-PE"/>
        </a:p>
      </dgm:t>
    </dgm:pt>
    <dgm:pt modelId="{EA0B127D-17E7-4F85-B4A3-0C70C06566B6}" type="pres">
      <dgm:prSet presAssocID="{3CC5D1DA-0AF9-494F-B9EF-F7F90FFA4C7E}" presName="hierRoot2" presStyleCnt="0">
        <dgm:presLayoutVars>
          <dgm:hierBranch val="init"/>
        </dgm:presLayoutVars>
      </dgm:prSet>
      <dgm:spPr/>
    </dgm:pt>
    <dgm:pt modelId="{28F24310-8939-48F8-AC8C-77AC4D9EA7D4}" type="pres">
      <dgm:prSet presAssocID="{3CC5D1DA-0AF9-494F-B9EF-F7F90FFA4C7E}" presName="rootComposite" presStyleCnt="0"/>
      <dgm:spPr/>
    </dgm:pt>
    <dgm:pt modelId="{9F04FB61-B8FE-4746-B156-D45F454B2337}" type="pres">
      <dgm:prSet presAssocID="{3CC5D1DA-0AF9-494F-B9EF-F7F90FFA4C7E}" presName="rootText" presStyleLbl="node3" presStyleIdx="5" presStyleCnt="34" custScaleY="132717">
        <dgm:presLayoutVars>
          <dgm:chPref val="3"/>
        </dgm:presLayoutVars>
      </dgm:prSet>
      <dgm:spPr/>
      <dgm:t>
        <a:bodyPr/>
        <a:lstStyle/>
        <a:p>
          <a:endParaRPr lang="es-PE"/>
        </a:p>
      </dgm:t>
    </dgm:pt>
    <dgm:pt modelId="{EB260ABF-D98F-43C7-9B4D-3E1F72DDECB1}" type="pres">
      <dgm:prSet presAssocID="{3CC5D1DA-0AF9-494F-B9EF-F7F90FFA4C7E}" presName="rootConnector" presStyleLbl="node3" presStyleIdx="5" presStyleCnt="34"/>
      <dgm:spPr/>
      <dgm:t>
        <a:bodyPr/>
        <a:lstStyle/>
        <a:p>
          <a:endParaRPr lang="es-PE"/>
        </a:p>
      </dgm:t>
    </dgm:pt>
    <dgm:pt modelId="{6B833FC1-74D9-480C-89C9-20F1C1FE6423}" type="pres">
      <dgm:prSet presAssocID="{3CC5D1DA-0AF9-494F-B9EF-F7F90FFA4C7E}" presName="hierChild4" presStyleCnt="0"/>
      <dgm:spPr/>
    </dgm:pt>
    <dgm:pt modelId="{99330140-EAB1-4B10-8CC3-02FCE784B543}" type="pres">
      <dgm:prSet presAssocID="{3CC5D1DA-0AF9-494F-B9EF-F7F90FFA4C7E}" presName="hierChild5" presStyleCnt="0"/>
      <dgm:spPr/>
    </dgm:pt>
    <dgm:pt modelId="{DFE98C5E-085B-45A9-9C1D-06552D02C74A}" type="pres">
      <dgm:prSet presAssocID="{014BB544-7E6C-4818-A772-3DD88A4F5EC0}" presName="Name37" presStyleLbl="parChTrans1D3" presStyleIdx="6" presStyleCnt="34"/>
      <dgm:spPr/>
      <dgm:t>
        <a:bodyPr/>
        <a:lstStyle/>
        <a:p>
          <a:endParaRPr lang="es-PE"/>
        </a:p>
      </dgm:t>
    </dgm:pt>
    <dgm:pt modelId="{47E006B2-B5DF-4264-8B34-28CBE396664B}" type="pres">
      <dgm:prSet presAssocID="{EE6DACCE-6E0D-4B5E-A904-F6535983F9C7}" presName="hierRoot2" presStyleCnt="0">
        <dgm:presLayoutVars>
          <dgm:hierBranch val="init"/>
        </dgm:presLayoutVars>
      </dgm:prSet>
      <dgm:spPr/>
    </dgm:pt>
    <dgm:pt modelId="{B9428F05-FD87-4412-BFE7-7C20D1F0B931}" type="pres">
      <dgm:prSet presAssocID="{EE6DACCE-6E0D-4B5E-A904-F6535983F9C7}" presName="rootComposite" presStyleCnt="0"/>
      <dgm:spPr/>
    </dgm:pt>
    <dgm:pt modelId="{24B56603-6DB6-4387-BEC0-335861524DF8}" type="pres">
      <dgm:prSet presAssocID="{EE6DACCE-6E0D-4B5E-A904-F6535983F9C7}" presName="rootText" presStyleLbl="node3" presStyleIdx="6" presStyleCnt="34" custScaleY="132717">
        <dgm:presLayoutVars>
          <dgm:chPref val="3"/>
        </dgm:presLayoutVars>
      </dgm:prSet>
      <dgm:spPr/>
      <dgm:t>
        <a:bodyPr/>
        <a:lstStyle/>
        <a:p>
          <a:endParaRPr lang="es-PE"/>
        </a:p>
      </dgm:t>
    </dgm:pt>
    <dgm:pt modelId="{5051A7D2-0B2A-4EE3-9D5B-29A9EF34D51E}" type="pres">
      <dgm:prSet presAssocID="{EE6DACCE-6E0D-4B5E-A904-F6535983F9C7}" presName="rootConnector" presStyleLbl="node3" presStyleIdx="6" presStyleCnt="34"/>
      <dgm:spPr/>
      <dgm:t>
        <a:bodyPr/>
        <a:lstStyle/>
        <a:p>
          <a:endParaRPr lang="es-PE"/>
        </a:p>
      </dgm:t>
    </dgm:pt>
    <dgm:pt modelId="{D81A8830-80F7-4E3D-9A0E-B110A00D5346}" type="pres">
      <dgm:prSet presAssocID="{EE6DACCE-6E0D-4B5E-A904-F6535983F9C7}" presName="hierChild4" presStyleCnt="0"/>
      <dgm:spPr/>
    </dgm:pt>
    <dgm:pt modelId="{E87132D5-BF9A-4FE4-9364-433BA78B7332}" type="pres">
      <dgm:prSet presAssocID="{EE6DACCE-6E0D-4B5E-A904-F6535983F9C7}" presName="hierChild5" presStyleCnt="0"/>
      <dgm:spPr/>
    </dgm:pt>
    <dgm:pt modelId="{5BE4540C-F354-48C0-A104-18C23515ED78}" type="pres">
      <dgm:prSet presAssocID="{D102250A-8368-4A0F-AB0D-B93DE73D3128}" presName="Name37" presStyleLbl="parChTrans1D3" presStyleIdx="7" presStyleCnt="34"/>
      <dgm:spPr/>
      <dgm:t>
        <a:bodyPr/>
        <a:lstStyle/>
        <a:p>
          <a:endParaRPr lang="es-PE"/>
        </a:p>
      </dgm:t>
    </dgm:pt>
    <dgm:pt modelId="{3C5CCBAD-5619-4E86-9F0D-EB9DBCBC9063}" type="pres">
      <dgm:prSet presAssocID="{51D2767D-A37A-4C96-88A1-E9DB74959CE2}" presName="hierRoot2" presStyleCnt="0">
        <dgm:presLayoutVars>
          <dgm:hierBranch val="init"/>
        </dgm:presLayoutVars>
      </dgm:prSet>
      <dgm:spPr/>
    </dgm:pt>
    <dgm:pt modelId="{21400EF9-E699-4658-B8DE-6D8340CDCD5A}" type="pres">
      <dgm:prSet presAssocID="{51D2767D-A37A-4C96-88A1-E9DB74959CE2}" presName="rootComposite" presStyleCnt="0"/>
      <dgm:spPr/>
    </dgm:pt>
    <dgm:pt modelId="{3DD2221E-6403-4756-951F-0FB9C2AC803A}" type="pres">
      <dgm:prSet presAssocID="{51D2767D-A37A-4C96-88A1-E9DB74959CE2}" presName="rootText" presStyleLbl="node3" presStyleIdx="7" presStyleCnt="34">
        <dgm:presLayoutVars>
          <dgm:chPref val="3"/>
        </dgm:presLayoutVars>
      </dgm:prSet>
      <dgm:spPr/>
      <dgm:t>
        <a:bodyPr/>
        <a:lstStyle/>
        <a:p>
          <a:endParaRPr lang="es-PE"/>
        </a:p>
      </dgm:t>
    </dgm:pt>
    <dgm:pt modelId="{BD26533E-4F0B-4BD5-9A3B-3F91CC24B3A9}" type="pres">
      <dgm:prSet presAssocID="{51D2767D-A37A-4C96-88A1-E9DB74959CE2}" presName="rootConnector" presStyleLbl="node3" presStyleIdx="7" presStyleCnt="34"/>
      <dgm:spPr/>
      <dgm:t>
        <a:bodyPr/>
        <a:lstStyle/>
        <a:p>
          <a:endParaRPr lang="es-PE"/>
        </a:p>
      </dgm:t>
    </dgm:pt>
    <dgm:pt modelId="{9FB14752-61BB-474C-AB65-25B3E9BE4D58}" type="pres">
      <dgm:prSet presAssocID="{51D2767D-A37A-4C96-88A1-E9DB74959CE2}" presName="hierChild4" presStyleCnt="0"/>
      <dgm:spPr/>
    </dgm:pt>
    <dgm:pt modelId="{2697359F-36AA-49C2-9242-15570C6A7B43}" type="pres">
      <dgm:prSet presAssocID="{51D2767D-A37A-4C96-88A1-E9DB74959CE2}" presName="hierChild5" presStyleCnt="0"/>
      <dgm:spPr/>
    </dgm:pt>
    <dgm:pt modelId="{EEB8DBCC-206C-42C4-A41D-6F3C82144902}" type="pres">
      <dgm:prSet presAssocID="{EDC7976F-F414-41E7-8BE0-618D41801E0F}" presName="hierChild5" presStyleCnt="0"/>
      <dgm:spPr/>
    </dgm:pt>
    <dgm:pt modelId="{64AFCCBF-4420-4361-A911-2BC5570FF50B}" type="pres">
      <dgm:prSet presAssocID="{398F7042-69E8-4F50-8A54-EBDC6CEAF256}" presName="Name37" presStyleLbl="parChTrans1D2" presStyleIdx="2" presStyleCnt="9"/>
      <dgm:spPr/>
      <dgm:t>
        <a:bodyPr/>
        <a:lstStyle/>
        <a:p>
          <a:endParaRPr lang="es-PE"/>
        </a:p>
      </dgm:t>
    </dgm:pt>
    <dgm:pt modelId="{D2482C29-EBBC-459E-B335-F617A2B1CCF5}" type="pres">
      <dgm:prSet presAssocID="{01106A15-B5C3-401F-A2AD-6B329F1D4E46}" presName="hierRoot2" presStyleCnt="0">
        <dgm:presLayoutVars>
          <dgm:hierBranch val="init"/>
        </dgm:presLayoutVars>
      </dgm:prSet>
      <dgm:spPr/>
    </dgm:pt>
    <dgm:pt modelId="{688BD9E7-A2B3-46A5-922E-31291634AACB}" type="pres">
      <dgm:prSet presAssocID="{01106A15-B5C3-401F-A2AD-6B329F1D4E46}" presName="rootComposite" presStyleCnt="0"/>
      <dgm:spPr/>
    </dgm:pt>
    <dgm:pt modelId="{EA4674C8-EA51-4CF4-8DF9-43F2391F3F74}" type="pres">
      <dgm:prSet presAssocID="{01106A15-B5C3-401F-A2AD-6B329F1D4E46}" presName="rootText" presStyleLbl="node2" presStyleIdx="2" presStyleCnt="9" custScaleY="141077">
        <dgm:presLayoutVars>
          <dgm:chPref val="3"/>
        </dgm:presLayoutVars>
      </dgm:prSet>
      <dgm:spPr/>
      <dgm:t>
        <a:bodyPr/>
        <a:lstStyle/>
        <a:p>
          <a:endParaRPr lang="es-PE"/>
        </a:p>
      </dgm:t>
    </dgm:pt>
    <dgm:pt modelId="{2E435836-9A5B-48B4-A5F9-6D2A4E563C5D}" type="pres">
      <dgm:prSet presAssocID="{01106A15-B5C3-401F-A2AD-6B329F1D4E46}" presName="rootConnector" presStyleLbl="node2" presStyleIdx="2" presStyleCnt="9"/>
      <dgm:spPr/>
      <dgm:t>
        <a:bodyPr/>
        <a:lstStyle/>
        <a:p>
          <a:endParaRPr lang="es-PE"/>
        </a:p>
      </dgm:t>
    </dgm:pt>
    <dgm:pt modelId="{6965C23A-C048-401A-B280-558113976B88}" type="pres">
      <dgm:prSet presAssocID="{01106A15-B5C3-401F-A2AD-6B329F1D4E46}" presName="hierChild4" presStyleCnt="0"/>
      <dgm:spPr/>
    </dgm:pt>
    <dgm:pt modelId="{DE7A3181-64B1-4594-BFFD-BEBFAF8F6045}" type="pres">
      <dgm:prSet presAssocID="{923E3BE6-5FCC-4FF7-9DF9-1C9C410C4E08}" presName="Name37" presStyleLbl="parChTrans1D3" presStyleIdx="8" presStyleCnt="34"/>
      <dgm:spPr/>
      <dgm:t>
        <a:bodyPr/>
        <a:lstStyle/>
        <a:p>
          <a:endParaRPr lang="es-PE"/>
        </a:p>
      </dgm:t>
    </dgm:pt>
    <dgm:pt modelId="{96366B64-D289-4C4F-89B7-4CEB49A4A71B}" type="pres">
      <dgm:prSet presAssocID="{CD555763-BC8B-4ACE-85CF-4AC01ED860D8}" presName="hierRoot2" presStyleCnt="0">
        <dgm:presLayoutVars>
          <dgm:hierBranch val="init"/>
        </dgm:presLayoutVars>
      </dgm:prSet>
      <dgm:spPr/>
    </dgm:pt>
    <dgm:pt modelId="{6C16EF9C-9575-4EA8-BCB9-D87DF5E0A0D9}" type="pres">
      <dgm:prSet presAssocID="{CD555763-BC8B-4ACE-85CF-4AC01ED860D8}" presName="rootComposite" presStyleCnt="0"/>
      <dgm:spPr/>
    </dgm:pt>
    <dgm:pt modelId="{23B955C0-50B3-406D-95F7-37562251126D}" type="pres">
      <dgm:prSet presAssocID="{CD555763-BC8B-4ACE-85CF-4AC01ED860D8}" presName="rootText" presStyleLbl="node3" presStyleIdx="8" presStyleCnt="34" custScaleY="132717">
        <dgm:presLayoutVars>
          <dgm:chPref val="3"/>
        </dgm:presLayoutVars>
      </dgm:prSet>
      <dgm:spPr/>
      <dgm:t>
        <a:bodyPr/>
        <a:lstStyle/>
        <a:p>
          <a:endParaRPr lang="es-PE"/>
        </a:p>
      </dgm:t>
    </dgm:pt>
    <dgm:pt modelId="{953B1FAA-0DD2-44BD-8CAC-65D957D03069}" type="pres">
      <dgm:prSet presAssocID="{CD555763-BC8B-4ACE-85CF-4AC01ED860D8}" presName="rootConnector" presStyleLbl="node3" presStyleIdx="8" presStyleCnt="34"/>
      <dgm:spPr/>
      <dgm:t>
        <a:bodyPr/>
        <a:lstStyle/>
        <a:p>
          <a:endParaRPr lang="es-PE"/>
        </a:p>
      </dgm:t>
    </dgm:pt>
    <dgm:pt modelId="{3A69C2FC-73EA-4A7C-8D26-5F360105CA48}" type="pres">
      <dgm:prSet presAssocID="{CD555763-BC8B-4ACE-85CF-4AC01ED860D8}" presName="hierChild4" presStyleCnt="0"/>
      <dgm:spPr/>
    </dgm:pt>
    <dgm:pt modelId="{82BE82CC-3896-43B9-ABAD-2B5E2C90A28F}" type="pres">
      <dgm:prSet presAssocID="{CD555763-BC8B-4ACE-85CF-4AC01ED860D8}" presName="hierChild5" presStyleCnt="0"/>
      <dgm:spPr/>
    </dgm:pt>
    <dgm:pt modelId="{551BB232-3515-434F-A628-A1257B358A40}" type="pres">
      <dgm:prSet presAssocID="{A63BCD70-2AEE-45A2-B03C-E215B863E0F7}" presName="Name37" presStyleLbl="parChTrans1D3" presStyleIdx="9" presStyleCnt="34"/>
      <dgm:spPr/>
      <dgm:t>
        <a:bodyPr/>
        <a:lstStyle/>
        <a:p>
          <a:endParaRPr lang="es-PE"/>
        </a:p>
      </dgm:t>
    </dgm:pt>
    <dgm:pt modelId="{9CA96325-E841-46C7-8BD9-CDB3B3A7AD88}" type="pres">
      <dgm:prSet presAssocID="{0260D017-9119-4231-936B-F5073FEB58A1}" presName="hierRoot2" presStyleCnt="0">
        <dgm:presLayoutVars>
          <dgm:hierBranch val="init"/>
        </dgm:presLayoutVars>
      </dgm:prSet>
      <dgm:spPr/>
    </dgm:pt>
    <dgm:pt modelId="{F6F335CA-A619-4009-83F5-1350D136032A}" type="pres">
      <dgm:prSet presAssocID="{0260D017-9119-4231-936B-F5073FEB58A1}" presName="rootComposite" presStyleCnt="0"/>
      <dgm:spPr/>
    </dgm:pt>
    <dgm:pt modelId="{83FCF8B8-7875-4E7A-84AB-1FD8588FFDE7}" type="pres">
      <dgm:prSet presAssocID="{0260D017-9119-4231-936B-F5073FEB58A1}" presName="rootText" presStyleLbl="node3" presStyleIdx="9" presStyleCnt="34" custScaleY="169130">
        <dgm:presLayoutVars>
          <dgm:chPref val="3"/>
        </dgm:presLayoutVars>
      </dgm:prSet>
      <dgm:spPr/>
      <dgm:t>
        <a:bodyPr/>
        <a:lstStyle/>
        <a:p>
          <a:endParaRPr lang="es-PE"/>
        </a:p>
      </dgm:t>
    </dgm:pt>
    <dgm:pt modelId="{04432766-CA59-4535-A036-E64AB8C8928C}" type="pres">
      <dgm:prSet presAssocID="{0260D017-9119-4231-936B-F5073FEB58A1}" presName="rootConnector" presStyleLbl="node3" presStyleIdx="9" presStyleCnt="34"/>
      <dgm:spPr/>
      <dgm:t>
        <a:bodyPr/>
        <a:lstStyle/>
        <a:p>
          <a:endParaRPr lang="es-PE"/>
        </a:p>
      </dgm:t>
    </dgm:pt>
    <dgm:pt modelId="{33154E4F-3687-43C8-A4DB-297ADEAC130F}" type="pres">
      <dgm:prSet presAssocID="{0260D017-9119-4231-936B-F5073FEB58A1}" presName="hierChild4" presStyleCnt="0"/>
      <dgm:spPr/>
    </dgm:pt>
    <dgm:pt modelId="{3B0C2383-4760-4CF2-A640-49696F69D5FB}" type="pres">
      <dgm:prSet presAssocID="{0260D017-9119-4231-936B-F5073FEB58A1}" presName="hierChild5" presStyleCnt="0"/>
      <dgm:spPr/>
    </dgm:pt>
    <dgm:pt modelId="{0343624D-8D55-4055-A6E4-712E34780962}" type="pres">
      <dgm:prSet presAssocID="{01106A15-B5C3-401F-A2AD-6B329F1D4E46}" presName="hierChild5" presStyleCnt="0"/>
      <dgm:spPr/>
    </dgm:pt>
    <dgm:pt modelId="{4D56D84C-67C3-4622-8BB3-1E488CB0B127}" type="pres">
      <dgm:prSet presAssocID="{49CCDD51-703A-43A7-89D8-E7978131A522}" presName="Name37" presStyleLbl="parChTrans1D2" presStyleIdx="3" presStyleCnt="9"/>
      <dgm:spPr/>
      <dgm:t>
        <a:bodyPr/>
        <a:lstStyle/>
        <a:p>
          <a:endParaRPr lang="es-PE"/>
        </a:p>
      </dgm:t>
    </dgm:pt>
    <dgm:pt modelId="{E210950A-A381-4C52-9EB3-D89611C58E95}" type="pres">
      <dgm:prSet presAssocID="{063317E2-27BD-4EB1-AC29-3609E78F61AE}" presName="hierRoot2" presStyleCnt="0">
        <dgm:presLayoutVars>
          <dgm:hierBranch val="init"/>
        </dgm:presLayoutVars>
      </dgm:prSet>
      <dgm:spPr/>
    </dgm:pt>
    <dgm:pt modelId="{F30D1FFA-309B-4A4A-9E00-34383D900FBB}" type="pres">
      <dgm:prSet presAssocID="{063317E2-27BD-4EB1-AC29-3609E78F61AE}" presName="rootComposite" presStyleCnt="0"/>
      <dgm:spPr/>
    </dgm:pt>
    <dgm:pt modelId="{CF2582DD-F5D9-4379-B9A2-40A989471469}" type="pres">
      <dgm:prSet presAssocID="{063317E2-27BD-4EB1-AC29-3609E78F61AE}" presName="rootText" presStyleLbl="node2" presStyleIdx="3" presStyleCnt="9" custScaleY="141076">
        <dgm:presLayoutVars>
          <dgm:chPref val="3"/>
        </dgm:presLayoutVars>
      </dgm:prSet>
      <dgm:spPr/>
      <dgm:t>
        <a:bodyPr/>
        <a:lstStyle/>
        <a:p>
          <a:endParaRPr lang="es-PE"/>
        </a:p>
      </dgm:t>
    </dgm:pt>
    <dgm:pt modelId="{7A7B294D-DAE1-40BA-8AA1-7E9A0ABCE750}" type="pres">
      <dgm:prSet presAssocID="{063317E2-27BD-4EB1-AC29-3609E78F61AE}" presName="rootConnector" presStyleLbl="node2" presStyleIdx="3" presStyleCnt="9"/>
      <dgm:spPr/>
      <dgm:t>
        <a:bodyPr/>
        <a:lstStyle/>
        <a:p>
          <a:endParaRPr lang="es-PE"/>
        </a:p>
      </dgm:t>
    </dgm:pt>
    <dgm:pt modelId="{926801EB-BABC-4651-9688-D48C7CEA4C4F}" type="pres">
      <dgm:prSet presAssocID="{063317E2-27BD-4EB1-AC29-3609E78F61AE}" presName="hierChild4" presStyleCnt="0"/>
      <dgm:spPr/>
    </dgm:pt>
    <dgm:pt modelId="{FE8095FC-880D-485B-853A-8198A318E617}" type="pres">
      <dgm:prSet presAssocID="{AC9516F3-3C13-49AA-836A-C15851F5D5D6}" presName="Name37" presStyleLbl="parChTrans1D3" presStyleIdx="10" presStyleCnt="34"/>
      <dgm:spPr/>
      <dgm:t>
        <a:bodyPr/>
        <a:lstStyle/>
        <a:p>
          <a:endParaRPr lang="es-PE"/>
        </a:p>
      </dgm:t>
    </dgm:pt>
    <dgm:pt modelId="{D691FDD2-ABD2-463C-9018-261D691AA1EC}" type="pres">
      <dgm:prSet presAssocID="{3B961C88-49F9-4C74-A742-22BC6112AA43}" presName="hierRoot2" presStyleCnt="0">
        <dgm:presLayoutVars>
          <dgm:hierBranch val="init"/>
        </dgm:presLayoutVars>
      </dgm:prSet>
      <dgm:spPr/>
    </dgm:pt>
    <dgm:pt modelId="{3F62284F-5879-46E2-AF86-C2B27CA98AA7}" type="pres">
      <dgm:prSet presAssocID="{3B961C88-49F9-4C74-A742-22BC6112AA43}" presName="rootComposite" presStyleCnt="0"/>
      <dgm:spPr/>
    </dgm:pt>
    <dgm:pt modelId="{5DDC083A-8D89-43B2-87EB-72A1F25E2F92}" type="pres">
      <dgm:prSet presAssocID="{3B961C88-49F9-4C74-A742-22BC6112AA43}" presName="rootText" presStyleLbl="node3" presStyleIdx="10" presStyleCnt="34" custScaleY="132717">
        <dgm:presLayoutVars>
          <dgm:chPref val="3"/>
        </dgm:presLayoutVars>
      </dgm:prSet>
      <dgm:spPr/>
      <dgm:t>
        <a:bodyPr/>
        <a:lstStyle/>
        <a:p>
          <a:endParaRPr lang="es-PE"/>
        </a:p>
      </dgm:t>
    </dgm:pt>
    <dgm:pt modelId="{26F369D8-ECA6-4547-9D7A-93372B0150D6}" type="pres">
      <dgm:prSet presAssocID="{3B961C88-49F9-4C74-A742-22BC6112AA43}" presName="rootConnector" presStyleLbl="node3" presStyleIdx="10" presStyleCnt="34"/>
      <dgm:spPr/>
      <dgm:t>
        <a:bodyPr/>
        <a:lstStyle/>
        <a:p>
          <a:endParaRPr lang="es-PE"/>
        </a:p>
      </dgm:t>
    </dgm:pt>
    <dgm:pt modelId="{84CA3297-C9AA-4369-9C1C-15FBBB9F1B8C}" type="pres">
      <dgm:prSet presAssocID="{3B961C88-49F9-4C74-A742-22BC6112AA43}" presName="hierChild4" presStyleCnt="0"/>
      <dgm:spPr/>
    </dgm:pt>
    <dgm:pt modelId="{04B88CE9-411B-4C13-9B48-444D61914477}" type="pres">
      <dgm:prSet presAssocID="{3B961C88-49F9-4C74-A742-22BC6112AA43}" presName="hierChild5" presStyleCnt="0"/>
      <dgm:spPr/>
    </dgm:pt>
    <dgm:pt modelId="{13ED7F28-45D2-4653-B7F0-1133C01AC81C}" type="pres">
      <dgm:prSet presAssocID="{4BECC003-82E9-4C9D-9AE4-CEFB628D5422}" presName="Name37" presStyleLbl="parChTrans1D3" presStyleIdx="11" presStyleCnt="34"/>
      <dgm:spPr/>
      <dgm:t>
        <a:bodyPr/>
        <a:lstStyle/>
        <a:p>
          <a:endParaRPr lang="es-PE"/>
        </a:p>
      </dgm:t>
    </dgm:pt>
    <dgm:pt modelId="{258E8BF1-207F-4FD1-B526-75228EF3D0E4}" type="pres">
      <dgm:prSet presAssocID="{3A60EAB2-F55E-4CB5-83F5-2BE0C197D425}" presName="hierRoot2" presStyleCnt="0">
        <dgm:presLayoutVars>
          <dgm:hierBranch val="init"/>
        </dgm:presLayoutVars>
      </dgm:prSet>
      <dgm:spPr/>
    </dgm:pt>
    <dgm:pt modelId="{D31CB73F-F269-47C6-A0E0-9CD21F2A0523}" type="pres">
      <dgm:prSet presAssocID="{3A60EAB2-F55E-4CB5-83F5-2BE0C197D425}" presName="rootComposite" presStyleCnt="0"/>
      <dgm:spPr/>
    </dgm:pt>
    <dgm:pt modelId="{7A64D23C-BE55-4001-9C11-41AA4C2DF1FC}" type="pres">
      <dgm:prSet presAssocID="{3A60EAB2-F55E-4CB5-83F5-2BE0C197D425}" presName="rootText" presStyleLbl="node3" presStyleIdx="11" presStyleCnt="34" custScaleY="132717">
        <dgm:presLayoutVars>
          <dgm:chPref val="3"/>
        </dgm:presLayoutVars>
      </dgm:prSet>
      <dgm:spPr/>
      <dgm:t>
        <a:bodyPr/>
        <a:lstStyle/>
        <a:p>
          <a:endParaRPr lang="es-PE"/>
        </a:p>
      </dgm:t>
    </dgm:pt>
    <dgm:pt modelId="{8DAA997A-B8EA-4257-A4B2-3CC96AF3018A}" type="pres">
      <dgm:prSet presAssocID="{3A60EAB2-F55E-4CB5-83F5-2BE0C197D425}" presName="rootConnector" presStyleLbl="node3" presStyleIdx="11" presStyleCnt="34"/>
      <dgm:spPr/>
      <dgm:t>
        <a:bodyPr/>
        <a:lstStyle/>
        <a:p>
          <a:endParaRPr lang="es-PE"/>
        </a:p>
      </dgm:t>
    </dgm:pt>
    <dgm:pt modelId="{6D65030B-038F-4474-AB17-FAB91E2EA8DE}" type="pres">
      <dgm:prSet presAssocID="{3A60EAB2-F55E-4CB5-83F5-2BE0C197D425}" presName="hierChild4" presStyleCnt="0"/>
      <dgm:spPr/>
    </dgm:pt>
    <dgm:pt modelId="{3B92AC45-E32B-4EAC-A822-D4FB97B1D707}" type="pres">
      <dgm:prSet presAssocID="{3A60EAB2-F55E-4CB5-83F5-2BE0C197D425}" presName="hierChild5" presStyleCnt="0"/>
      <dgm:spPr/>
    </dgm:pt>
    <dgm:pt modelId="{E9250245-CAC4-4AFC-A9EB-65645D9DD6A3}" type="pres">
      <dgm:prSet presAssocID="{A1AECA17-618F-470F-9AFF-5364FBEA26FB}" presName="Name37" presStyleLbl="parChTrans1D3" presStyleIdx="12" presStyleCnt="34"/>
      <dgm:spPr/>
      <dgm:t>
        <a:bodyPr/>
        <a:lstStyle/>
        <a:p>
          <a:endParaRPr lang="es-PE"/>
        </a:p>
      </dgm:t>
    </dgm:pt>
    <dgm:pt modelId="{C93245DC-872B-42DD-A146-8DE0E1767F51}" type="pres">
      <dgm:prSet presAssocID="{8009C9A0-BEF2-4F45-A9B0-AC833D7C7D48}" presName="hierRoot2" presStyleCnt="0">
        <dgm:presLayoutVars>
          <dgm:hierBranch val="init"/>
        </dgm:presLayoutVars>
      </dgm:prSet>
      <dgm:spPr/>
    </dgm:pt>
    <dgm:pt modelId="{0C99F327-45D0-4B78-8F62-99B7E27B0EBE}" type="pres">
      <dgm:prSet presAssocID="{8009C9A0-BEF2-4F45-A9B0-AC833D7C7D48}" presName="rootComposite" presStyleCnt="0"/>
      <dgm:spPr/>
    </dgm:pt>
    <dgm:pt modelId="{5BEF1219-6836-4938-88FE-8FED429B3586}" type="pres">
      <dgm:prSet presAssocID="{8009C9A0-BEF2-4F45-A9B0-AC833D7C7D48}" presName="rootText" presStyleLbl="node3" presStyleIdx="12" presStyleCnt="34" custScaleY="132717">
        <dgm:presLayoutVars>
          <dgm:chPref val="3"/>
        </dgm:presLayoutVars>
      </dgm:prSet>
      <dgm:spPr/>
      <dgm:t>
        <a:bodyPr/>
        <a:lstStyle/>
        <a:p>
          <a:endParaRPr lang="es-PE"/>
        </a:p>
      </dgm:t>
    </dgm:pt>
    <dgm:pt modelId="{AC07527A-3442-4E66-B922-718991CA0AC3}" type="pres">
      <dgm:prSet presAssocID="{8009C9A0-BEF2-4F45-A9B0-AC833D7C7D48}" presName="rootConnector" presStyleLbl="node3" presStyleIdx="12" presStyleCnt="34"/>
      <dgm:spPr/>
      <dgm:t>
        <a:bodyPr/>
        <a:lstStyle/>
        <a:p>
          <a:endParaRPr lang="es-PE"/>
        </a:p>
      </dgm:t>
    </dgm:pt>
    <dgm:pt modelId="{F7840F7F-EEA5-4091-99AC-829E75282623}" type="pres">
      <dgm:prSet presAssocID="{8009C9A0-BEF2-4F45-A9B0-AC833D7C7D48}" presName="hierChild4" presStyleCnt="0"/>
      <dgm:spPr/>
    </dgm:pt>
    <dgm:pt modelId="{53099E8E-D4C7-499B-912B-ED938E2CFE01}" type="pres">
      <dgm:prSet presAssocID="{8009C9A0-BEF2-4F45-A9B0-AC833D7C7D48}" presName="hierChild5" presStyleCnt="0"/>
      <dgm:spPr/>
    </dgm:pt>
    <dgm:pt modelId="{B7C81105-A218-4400-97D1-D39E0A33511D}" type="pres">
      <dgm:prSet presAssocID="{21FD61D4-A81F-4FDF-8C0E-B97FE3C813D3}" presName="Name37" presStyleLbl="parChTrans1D3" presStyleIdx="13" presStyleCnt="34"/>
      <dgm:spPr/>
      <dgm:t>
        <a:bodyPr/>
        <a:lstStyle/>
        <a:p>
          <a:endParaRPr lang="es-PE"/>
        </a:p>
      </dgm:t>
    </dgm:pt>
    <dgm:pt modelId="{60B07053-2668-4E81-B6F6-704BA99AC12C}" type="pres">
      <dgm:prSet presAssocID="{A61703E0-0DC6-4C08-B3D5-4EE38F3BD3DF}" presName="hierRoot2" presStyleCnt="0">
        <dgm:presLayoutVars>
          <dgm:hierBranch val="init"/>
        </dgm:presLayoutVars>
      </dgm:prSet>
      <dgm:spPr/>
    </dgm:pt>
    <dgm:pt modelId="{44919584-8DF8-4185-BF4D-7E37D5C832F7}" type="pres">
      <dgm:prSet presAssocID="{A61703E0-0DC6-4C08-B3D5-4EE38F3BD3DF}" presName="rootComposite" presStyleCnt="0"/>
      <dgm:spPr/>
    </dgm:pt>
    <dgm:pt modelId="{CD609F84-622D-4BE9-9B7B-FA342E920C5E}" type="pres">
      <dgm:prSet presAssocID="{A61703E0-0DC6-4C08-B3D5-4EE38F3BD3DF}" presName="rootText" presStyleLbl="node3" presStyleIdx="13" presStyleCnt="34" custScaleY="132717">
        <dgm:presLayoutVars>
          <dgm:chPref val="3"/>
        </dgm:presLayoutVars>
      </dgm:prSet>
      <dgm:spPr/>
      <dgm:t>
        <a:bodyPr/>
        <a:lstStyle/>
        <a:p>
          <a:endParaRPr lang="es-PE"/>
        </a:p>
      </dgm:t>
    </dgm:pt>
    <dgm:pt modelId="{6D999E67-AD03-420F-B3AC-2CE7228F1B37}" type="pres">
      <dgm:prSet presAssocID="{A61703E0-0DC6-4C08-B3D5-4EE38F3BD3DF}" presName="rootConnector" presStyleLbl="node3" presStyleIdx="13" presStyleCnt="34"/>
      <dgm:spPr/>
      <dgm:t>
        <a:bodyPr/>
        <a:lstStyle/>
        <a:p>
          <a:endParaRPr lang="es-PE"/>
        </a:p>
      </dgm:t>
    </dgm:pt>
    <dgm:pt modelId="{6F8824FF-9787-4A16-9004-9295501BB271}" type="pres">
      <dgm:prSet presAssocID="{A61703E0-0DC6-4C08-B3D5-4EE38F3BD3DF}" presName="hierChild4" presStyleCnt="0"/>
      <dgm:spPr/>
    </dgm:pt>
    <dgm:pt modelId="{CD229DA5-D53C-418F-A2B7-E7CE0387D1D2}" type="pres">
      <dgm:prSet presAssocID="{A61703E0-0DC6-4C08-B3D5-4EE38F3BD3DF}" presName="hierChild5" presStyleCnt="0"/>
      <dgm:spPr/>
    </dgm:pt>
    <dgm:pt modelId="{13CFDBFC-795A-4F2D-B7B4-3E4BD126626F}" type="pres">
      <dgm:prSet presAssocID="{E700FACC-6271-47F6-A730-FF7B5C1A358B}" presName="Name37" presStyleLbl="parChTrans1D3" presStyleIdx="14" presStyleCnt="34"/>
      <dgm:spPr/>
      <dgm:t>
        <a:bodyPr/>
        <a:lstStyle/>
        <a:p>
          <a:endParaRPr lang="es-PE"/>
        </a:p>
      </dgm:t>
    </dgm:pt>
    <dgm:pt modelId="{D2AA78AD-C002-45A5-A3BA-9B5000286AC6}" type="pres">
      <dgm:prSet presAssocID="{EB87F310-99C6-451F-88D9-085BE3F1CC22}" presName="hierRoot2" presStyleCnt="0">
        <dgm:presLayoutVars>
          <dgm:hierBranch val="init"/>
        </dgm:presLayoutVars>
      </dgm:prSet>
      <dgm:spPr/>
    </dgm:pt>
    <dgm:pt modelId="{F6376D9F-1A2F-4216-8ED8-E3F38E3B79C2}" type="pres">
      <dgm:prSet presAssocID="{EB87F310-99C6-451F-88D9-085BE3F1CC22}" presName="rootComposite" presStyleCnt="0"/>
      <dgm:spPr/>
    </dgm:pt>
    <dgm:pt modelId="{5107EE37-977C-4172-9AFE-92909ABA8ED7}" type="pres">
      <dgm:prSet presAssocID="{EB87F310-99C6-451F-88D9-085BE3F1CC22}" presName="rootText" presStyleLbl="node3" presStyleIdx="14" presStyleCnt="34" custScaleY="132717">
        <dgm:presLayoutVars>
          <dgm:chPref val="3"/>
        </dgm:presLayoutVars>
      </dgm:prSet>
      <dgm:spPr/>
      <dgm:t>
        <a:bodyPr/>
        <a:lstStyle/>
        <a:p>
          <a:endParaRPr lang="es-PE"/>
        </a:p>
      </dgm:t>
    </dgm:pt>
    <dgm:pt modelId="{0E34551C-B7E8-4FC7-89E8-3D0F7C9A805A}" type="pres">
      <dgm:prSet presAssocID="{EB87F310-99C6-451F-88D9-085BE3F1CC22}" presName="rootConnector" presStyleLbl="node3" presStyleIdx="14" presStyleCnt="34"/>
      <dgm:spPr/>
      <dgm:t>
        <a:bodyPr/>
        <a:lstStyle/>
        <a:p>
          <a:endParaRPr lang="es-PE"/>
        </a:p>
      </dgm:t>
    </dgm:pt>
    <dgm:pt modelId="{3CCA279F-5C9F-40C4-832B-1D7EC07241BA}" type="pres">
      <dgm:prSet presAssocID="{EB87F310-99C6-451F-88D9-085BE3F1CC22}" presName="hierChild4" presStyleCnt="0"/>
      <dgm:spPr/>
    </dgm:pt>
    <dgm:pt modelId="{78CF4650-F6BD-4721-B41B-649525424AFF}" type="pres">
      <dgm:prSet presAssocID="{EB87F310-99C6-451F-88D9-085BE3F1CC22}" presName="hierChild5" presStyleCnt="0"/>
      <dgm:spPr/>
    </dgm:pt>
    <dgm:pt modelId="{64DA4B9F-6F40-48C5-93BB-3113343246D4}" type="pres">
      <dgm:prSet presAssocID="{A19335BB-6F44-45C9-A8E9-53E4D15807C0}" presName="Name37" presStyleLbl="parChTrans1D3" presStyleIdx="15" presStyleCnt="34"/>
      <dgm:spPr/>
      <dgm:t>
        <a:bodyPr/>
        <a:lstStyle/>
        <a:p>
          <a:endParaRPr lang="es-PE"/>
        </a:p>
      </dgm:t>
    </dgm:pt>
    <dgm:pt modelId="{4849C1A5-0369-4F78-8375-5FCB6ADE5077}" type="pres">
      <dgm:prSet presAssocID="{E59B3495-37B3-4C6F-A44D-5402BC40E91D}" presName="hierRoot2" presStyleCnt="0">
        <dgm:presLayoutVars>
          <dgm:hierBranch val="init"/>
        </dgm:presLayoutVars>
      </dgm:prSet>
      <dgm:spPr/>
    </dgm:pt>
    <dgm:pt modelId="{FA831CE3-7344-4267-AC37-1FBA90FCE3F4}" type="pres">
      <dgm:prSet presAssocID="{E59B3495-37B3-4C6F-A44D-5402BC40E91D}" presName="rootComposite" presStyleCnt="0"/>
      <dgm:spPr/>
    </dgm:pt>
    <dgm:pt modelId="{BB4779EA-0DBB-4ABE-BA6F-344CD770A254}" type="pres">
      <dgm:prSet presAssocID="{E59B3495-37B3-4C6F-A44D-5402BC40E91D}" presName="rootText" presStyleLbl="node3" presStyleIdx="15" presStyleCnt="34" custScaleY="132717">
        <dgm:presLayoutVars>
          <dgm:chPref val="3"/>
        </dgm:presLayoutVars>
      </dgm:prSet>
      <dgm:spPr/>
      <dgm:t>
        <a:bodyPr/>
        <a:lstStyle/>
        <a:p>
          <a:endParaRPr lang="es-PE"/>
        </a:p>
      </dgm:t>
    </dgm:pt>
    <dgm:pt modelId="{94F60D41-8E41-4ABF-899E-EC2AB4F5F466}" type="pres">
      <dgm:prSet presAssocID="{E59B3495-37B3-4C6F-A44D-5402BC40E91D}" presName="rootConnector" presStyleLbl="node3" presStyleIdx="15" presStyleCnt="34"/>
      <dgm:spPr/>
      <dgm:t>
        <a:bodyPr/>
        <a:lstStyle/>
        <a:p>
          <a:endParaRPr lang="es-PE"/>
        </a:p>
      </dgm:t>
    </dgm:pt>
    <dgm:pt modelId="{8DAFEA21-653A-4989-9A33-20196E735EC5}" type="pres">
      <dgm:prSet presAssocID="{E59B3495-37B3-4C6F-A44D-5402BC40E91D}" presName="hierChild4" presStyleCnt="0"/>
      <dgm:spPr/>
    </dgm:pt>
    <dgm:pt modelId="{9D7ECB2C-CBDF-40EC-8791-2F42F5035F08}" type="pres">
      <dgm:prSet presAssocID="{E59B3495-37B3-4C6F-A44D-5402BC40E91D}" presName="hierChild5" presStyleCnt="0"/>
      <dgm:spPr/>
    </dgm:pt>
    <dgm:pt modelId="{090618D5-DDD5-4536-A689-778DEB151E12}" type="pres">
      <dgm:prSet presAssocID="{063317E2-27BD-4EB1-AC29-3609E78F61AE}" presName="hierChild5" presStyleCnt="0"/>
      <dgm:spPr/>
    </dgm:pt>
    <dgm:pt modelId="{215F6BA8-52A0-41A1-90AB-B0408891BFD2}" type="pres">
      <dgm:prSet presAssocID="{10C0749A-8CEE-41D4-9E07-14DCAA6ADD3C}" presName="Name37" presStyleLbl="parChTrans1D2" presStyleIdx="4" presStyleCnt="9"/>
      <dgm:spPr/>
      <dgm:t>
        <a:bodyPr/>
        <a:lstStyle/>
        <a:p>
          <a:endParaRPr lang="es-PE"/>
        </a:p>
      </dgm:t>
    </dgm:pt>
    <dgm:pt modelId="{DF60B14B-9D0E-4862-8A0E-B9F984D869DD}" type="pres">
      <dgm:prSet presAssocID="{CF66BBB3-E722-4F8B-BCA9-CAC23B0F5D61}" presName="hierRoot2" presStyleCnt="0">
        <dgm:presLayoutVars>
          <dgm:hierBranch val="init"/>
        </dgm:presLayoutVars>
      </dgm:prSet>
      <dgm:spPr/>
    </dgm:pt>
    <dgm:pt modelId="{B3A634ED-1D5E-4F64-9EF6-5CF633A2B373}" type="pres">
      <dgm:prSet presAssocID="{CF66BBB3-E722-4F8B-BCA9-CAC23B0F5D61}" presName="rootComposite" presStyleCnt="0"/>
      <dgm:spPr/>
    </dgm:pt>
    <dgm:pt modelId="{337890B3-6AE4-40D0-956C-DFFC21855FBD}" type="pres">
      <dgm:prSet presAssocID="{CF66BBB3-E722-4F8B-BCA9-CAC23B0F5D61}" presName="rootText" presStyleLbl="node2" presStyleIdx="4" presStyleCnt="9" custScaleY="138907">
        <dgm:presLayoutVars>
          <dgm:chPref val="3"/>
        </dgm:presLayoutVars>
      </dgm:prSet>
      <dgm:spPr/>
      <dgm:t>
        <a:bodyPr/>
        <a:lstStyle/>
        <a:p>
          <a:endParaRPr lang="es-PE"/>
        </a:p>
      </dgm:t>
    </dgm:pt>
    <dgm:pt modelId="{551BD782-F811-43C5-B9C2-75B12A087AF2}" type="pres">
      <dgm:prSet presAssocID="{CF66BBB3-E722-4F8B-BCA9-CAC23B0F5D61}" presName="rootConnector" presStyleLbl="node2" presStyleIdx="4" presStyleCnt="9"/>
      <dgm:spPr/>
      <dgm:t>
        <a:bodyPr/>
        <a:lstStyle/>
        <a:p>
          <a:endParaRPr lang="es-PE"/>
        </a:p>
      </dgm:t>
    </dgm:pt>
    <dgm:pt modelId="{DAC72792-1662-4E92-9261-EEA2B5154CAC}" type="pres">
      <dgm:prSet presAssocID="{CF66BBB3-E722-4F8B-BCA9-CAC23B0F5D61}" presName="hierChild4" presStyleCnt="0"/>
      <dgm:spPr/>
    </dgm:pt>
    <dgm:pt modelId="{BDE839AA-0DBF-4B23-959E-DECF9D227CD3}" type="pres">
      <dgm:prSet presAssocID="{F8B088BC-07F4-43DD-94E6-4BA2AD31C1BA}" presName="Name37" presStyleLbl="parChTrans1D3" presStyleIdx="16" presStyleCnt="34"/>
      <dgm:spPr/>
      <dgm:t>
        <a:bodyPr/>
        <a:lstStyle/>
        <a:p>
          <a:endParaRPr lang="es-PE"/>
        </a:p>
      </dgm:t>
    </dgm:pt>
    <dgm:pt modelId="{6F992FDD-5A81-423E-A664-5CBFEEC1F99F}" type="pres">
      <dgm:prSet presAssocID="{ED8E86B8-FC95-42F9-A754-7EF09CA76970}" presName="hierRoot2" presStyleCnt="0">
        <dgm:presLayoutVars>
          <dgm:hierBranch val="init"/>
        </dgm:presLayoutVars>
      </dgm:prSet>
      <dgm:spPr/>
    </dgm:pt>
    <dgm:pt modelId="{28389BE2-8706-418A-ADF5-429F229F56F2}" type="pres">
      <dgm:prSet presAssocID="{ED8E86B8-FC95-42F9-A754-7EF09CA76970}" presName="rootComposite" presStyleCnt="0"/>
      <dgm:spPr/>
    </dgm:pt>
    <dgm:pt modelId="{FAAF661C-C933-4474-8A61-B50BBBC14A7D}" type="pres">
      <dgm:prSet presAssocID="{ED8E86B8-FC95-42F9-A754-7EF09CA76970}" presName="rootText" presStyleLbl="node3" presStyleIdx="16" presStyleCnt="34" custScaleY="132717">
        <dgm:presLayoutVars>
          <dgm:chPref val="3"/>
        </dgm:presLayoutVars>
      </dgm:prSet>
      <dgm:spPr/>
      <dgm:t>
        <a:bodyPr/>
        <a:lstStyle/>
        <a:p>
          <a:endParaRPr lang="es-PE"/>
        </a:p>
      </dgm:t>
    </dgm:pt>
    <dgm:pt modelId="{0545BE9E-0F31-4A45-A85F-96B2C1BFEE61}" type="pres">
      <dgm:prSet presAssocID="{ED8E86B8-FC95-42F9-A754-7EF09CA76970}" presName="rootConnector" presStyleLbl="node3" presStyleIdx="16" presStyleCnt="34"/>
      <dgm:spPr/>
      <dgm:t>
        <a:bodyPr/>
        <a:lstStyle/>
        <a:p>
          <a:endParaRPr lang="es-PE"/>
        </a:p>
      </dgm:t>
    </dgm:pt>
    <dgm:pt modelId="{7158C335-01E3-4209-91B9-18FB7B6FDCD0}" type="pres">
      <dgm:prSet presAssocID="{ED8E86B8-FC95-42F9-A754-7EF09CA76970}" presName="hierChild4" presStyleCnt="0"/>
      <dgm:spPr/>
    </dgm:pt>
    <dgm:pt modelId="{47CA6D44-E862-48EF-B01F-65868AABE975}" type="pres">
      <dgm:prSet presAssocID="{ED8E86B8-FC95-42F9-A754-7EF09CA76970}" presName="hierChild5" presStyleCnt="0"/>
      <dgm:spPr/>
    </dgm:pt>
    <dgm:pt modelId="{13A9DBAE-9F13-43A3-8BC6-93890F6D7FA2}" type="pres">
      <dgm:prSet presAssocID="{E01AB6D9-ECB1-495A-A700-A0CB2C7F0F06}" presName="Name37" presStyleLbl="parChTrans1D3" presStyleIdx="17" presStyleCnt="34"/>
      <dgm:spPr/>
      <dgm:t>
        <a:bodyPr/>
        <a:lstStyle/>
        <a:p>
          <a:endParaRPr lang="es-PE"/>
        </a:p>
      </dgm:t>
    </dgm:pt>
    <dgm:pt modelId="{5634AAAB-9A8A-4861-B787-E48AA426036D}" type="pres">
      <dgm:prSet presAssocID="{783E5226-3A92-4D2B-A180-6A3A43CD9D0A}" presName="hierRoot2" presStyleCnt="0">
        <dgm:presLayoutVars>
          <dgm:hierBranch val="init"/>
        </dgm:presLayoutVars>
      </dgm:prSet>
      <dgm:spPr/>
    </dgm:pt>
    <dgm:pt modelId="{34235F2E-768B-4DC4-A57E-5AADDDB8F690}" type="pres">
      <dgm:prSet presAssocID="{783E5226-3A92-4D2B-A180-6A3A43CD9D0A}" presName="rootComposite" presStyleCnt="0"/>
      <dgm:spPr/>
    </dgm:pt>
    <dgm:pt modelId="{0EE34835-1A70-4C28-A337-BDA611F2BD24}" type="pres">
      <dgm:prSet presAssocID="{783E5226-3A92-4D2B-A180-6A3A43CD9D0A}" presName="rootText" presStyleLbl="node3" presStyleIdx="17" presStyleCnt="34" custScaleY="132717">
        <dgm:presLayoutVars>
          <dgm:chPref val="3"/>
        </dgm:presLayoutVars>
      </dgm:prSet>
      <dgm:spPr/>
      <dgm:t>
        <a:bodyPr/>
        <a:lstStyle/>
        <a:p>
          <a:endParaRPr lang="es-PE"/>
        </a:p>
      </dgm:t>
    </dgm:pt>
    <dgm:pt modelId="{E21425BE-0FB9-44F2-8D95-C2B2050065B5}" type="pres">
      <dgm:prSet presAssocID="{783E5226-3A92-4D2B-A180-6A3A43CD9D0A}" presName="rootConnector" presStyleLbl="node3" presStyleIdx="17" presStyleCnt="34"/>
      <dgm:spPr/>
      <dgm:t>
        <a:bodyPr/>
        <a:lstStyle/>
        <a:p>
          <a:endParaRPr lang="es-PE"/>
        </a:p>
      </dgm:t>
    </dgm:pt>
    <dgm:pt modelId="{A1849777-09D5-4105-84F6-AB4E9AF8CC3B}" type="pres">
      <dgm:prSet presAssocID="{783E5226-3A92-4D2B-A180-6A3A43CD9D0A}" presName="hierChild4" presStyleCnt="0"/>
      <dgm:spPr/>
    </dgm:pt>
    <dgm:pt modelId="{8F825DB5-FDE9-46D9-9A44-2B3DCCFED2E5}" type="pres">
      <dgm:prSet presAssocID="{783E5226-3A92-4D2B-A180-6A3A43CD9D0A}" presName="hierChild5" presStyleCnt="0"/>
      <dgm:spPr/>
    </dgm:pt>
    <dgm:pt modelId="{CD9E3978-72E6-4B4C-99A3-61C52EDBF7DF}" type="pres">
      <dgm:prSet presAssocID="{2A5FBFE2-5313-4FF2-9B48-3F2A80607A6B}" presName="Name37" presStyleLbl="parChTrans1D3" presStyleIdx="18" presStyleCnt="34"/>
      <dgm:spPr/>
      <dgm:t>
        <a:bodyPr/>
        <a:lstStyle/>
        <a:p>
          <a:endParaRPr lang="es-PE"/>
        </a:p>
      </dgm:t>
    </dgm:pt>
    <dgm:pt modelId="{C0079C73-D27C-4F18-99DE-A29C60441C48}" type="pres">
      <dgm:prSet presAssocID="{B6BF926F-18B7-451F-B182-E9660B5BC37F}" presName="hierRoot2" presStyleCnt="0">
        <dgm:presLayoutVars>
          <dgm:hierBranch val="init"/>
        </dgm:presLayoutVars>
      </dgm:prSet>
      <dgm:spPr/>
    </dgm:pt>
    <dgm:pt modelId="{A6D872B1-F1C8-4F11-8910-1DA919A3628A}" type="pres">
      <dgm:prSet presAssocID="{B6BF926F-18B7-451F-B182-E9660B5BC37F}" presName="rootComposite" presStyleCnt="0"/>
      <dgm:spPr/>
    </dgm:pt>
    <dgm:pt modelId="{F4DF54E5-D8B2-4A3D-8B13-8E3A7CBAFDC4}" type="pres">
      <dgm:prSet presAssocID="{B6BF926F-18B7-451F-B182-E9660B5BC37F}" presName="rootText" presStyleLbl="node3" presStyleIdx="18" presStyleCnt="34" custScaleY="132717">
        <dgm:presLayoutVars>
          <dgm:chPref val="3"/>
        </dgm:presLayoutVars>
      </dgm:prSet>
      <dgm:spPr/>
      <dgm:t>
        <a:bodyPr/>
        <a:lstStyle/>
        <a:p>
          <a:endParaRPr lang="es-PE"/>
        </a:p>
      </dgm:t>
    </dgm:pt>
    <dgm:pt modelId="{2A08E1BB-B8BF-4FF2-BC90-85483B90E0FF}" type="pres">
      <dgm:prSet presAssocID="{B6BF926F-18B7-451F-B182-E9660B5BC37F}" presName="rootConnector" presStyleLbl="node3" presStyleIdx="18" presStyleCnt="34"/>
      <dgm:spPr/>
      <dgm:t>
        <a:bodyPr/>
        <a:lstStyle/>
        <a:p>
          <a:endParaRPr lang="es-PE"/>
        </a:p>
      </dgm:t>
    </dgm:pt>
    <dgm:pt modelId="{F7932A87-4FF1-4051-8A55-64E1CCCAE2C1}" type="pres">
      <dgm:prSet presAssocID="{B6BF926F-18B7-451F-B182-E9660B5BC37F}" presName="hierChild4" presStyleCnt="0"/>
      <dgm:spPr/>
    </dgm:pt>
    <dgm:pt modelId="{8CC7B6C0-2850-418B-8A27-15542D775024}" type="pres">
      <dgm:prSet presAssocID="{B6BF926F-18B7-451F-B182-E9660B5BC37F}" presName="hierChild5" presStyleCnt="0"/>
      <dgm:spPr/>
    </dgm:pt>
    <dgm:pt modelId="{4D1C9ECA-5301-4C71-99E2-AEEFD468990D}" type="pres">
      <dgm:prSet presAssocID="{1ABF0688-0035-4739-8B9E-151A6960CC41}" presName="Name37" presStyleLbl="parChTrans1D3" presStyleIdx="19" presStyleCnt="34"/>
      <dgm:spPr/>
      <dgm:t>
        <a:bodyPr/>
        <a:lstStyle/>
        <a:p>
          <a:endParaRPr lang="es-PE"/>
        </a:p>
      </dgm:t>
    </dgm:pt>
    <dgm:pt modelId="{6431BEB6-7FD4-4E12-8234-DF7AFBFC5F0A}" type="pres">
      <dgm:prSet presAssocID="{FAAEFADD-987A-4F86-AD0D-512489C91ADE}" presName="hierRoot2" presStyleCnt="0">
        <dgm:presLayoutVars>
          <dgm:hierBranch val="init"/>
        </dgm:presLayoutVars>
      </dgm:prSet>
      <dgm:spPr/>
    </dgm:pt>
    <dgm:pt modelId="{BFEF7A74-BDE5-44E0-A37C-3840709897FC}" type="pres">
      <dgm:prSet presAssocID="{FAAEFADD-987A-4F86-AD0D-512489C91ADE}" presName="rootComposite" presStyleCnt="0"/>
      <dgm:spPr/>
    </dgm:pt>
    <dgm:pt modelId="{7010E9D7-AFDD-4AC5-9833-1C3EE0B0C22B}" type="pres">
      <dgm:prSet presAssocID="{FAAEFADD-987A-4F86-AD0D-512489C91ADE}" presName="rootText" presStyleLbl="node3" presStyleIdx="19" presStyleCnt="34" custScaleY="132717">
        <dgm:presLayoutVars>
          <dgm:chPref val="3"/>
        </dgm:presLayoutVars>
      </dgm:prSet>
      <dgm:spPr/>
      <dgm:t>
        <a:bodyPr/>
        <a:lstStyle/>
        <a:p>
          <a:endParaRPr lang="es-PE"/>
        </a:p>
      </dgm:t>
    </dgm:pt>
    <dgm:pt modelId="{FA945DE8-BAF1-4083-9ABC-64AA9415B31D}" type="pres">
      <dgm:prSet presAssocID="{FAAEFADD-987A-4F86-AD0D-512489C91ADE}" presName="rootConnector" presStyleLbl="node3" presStyleIdx="19" presStyleCnt="34"/>
      <dgm:spPr/>
      <dgm:t>
        <a:bodyPr/>
        <a:lstStyle/>
        <a:p>
          <a:endParaRPr lang="es-PE"/>
        </a:p>
      </dgm:t>
    </dgm:pt>
    <dgm:pt modelId="{A0D84F06-BEF0-47EC-9F0F-CD35FDFAD0C0}" type="pres">
      <dgm:prSet presAssocID="{FAAEFADD-987A-4F86-AD0D-512489C91ADE}" presName="hierChild4" presStyleCnt="0"/>
      <dgm:spPr/>
    </dgm:pt>
    <dgm:pt modelId="{74783556-0D47-4302-B571-F9E8DAF63253}" type="pres">
      <dgm:prSet presAssocID="{FAAEFADD-987A-4F86-AD0D-512489C91ADE}" presName="hierChild5" presStyleCnt="0"/>
      <dgm:spPr/>
    </dgm:pt>
    <dgm:pt modelId="{008EB2AB-E71E-4A98-BDF3-C6B947ECAACC}" type="pres">
      <dgm:prSet presAssocID="{CF66BBB3-E722-4F8B-BCA9-CAC23B0F5D61}" presName="hierChild5" presStyleCnt="0"/>
      <dgm:spPr/>
    </dgm:pt>
    <dgm:pt modelId="{F30FA549-CC53-4EC0-9783-9A58112DC4F6}" type="pres">
      <dgm:prSet presAssocID="{0D651E1B-9B6A-40C8-87A3-0B21D9431F64}" presName="Name37" presStyleLbl="parChTrans1D2" presStyleIdx="5" presStyleCnt="9"/>
      <dgm:spPr/>
      <dgm:t>
        <a:bodyPr/>
        <a:lstStyle/>
        <a:p>
          <a:endParaRPr lang="es-PE"/>
        </a:p>
      </dgm:t>
    </dgm:pt>
    <dgm:pt modelId="{2CC4E969-714B-4241-A17C-8F6440A84218}" type="pres">
      <dgm:prSet presAssocID="{0EA240B4-38C4-44ED-AAE0-FC26B4195074}" presName="hierRoot2" presStyleCnt="0">
        <dgm:presLayoutVars>
          <dgm:hierBranch val="init"/>
        </dgm:presLayoutVars>
      </dgm:prSet>
      <dgm:spPr/>
    </dgm:pt>
    <dgm:pt modelId="{7E376AB2-A05B-4B3E-95BD-19229CF5F7DD}" type="pres">
      <dgm:prSet presAssocID="{0EA240B4-38C4-44ED-AAE0-FC26B4195074}" presName="rootComposite" presStyleCnt="0"/>
      <dgm:spPr/>
    </dgm:pt>
    <dgm:pt modelId="{14DCA77F-61B9-4D0D-B790-959FFF40C578}" type="pres">
      <dgm:prSet presAssocID="{0EA240B4-38C4-44ED-AAE0-FC26B4195074}" presName="rootText" presStyleLbl="node2" presStyleIdx="5" presStyleCnt="9" custScaleY="138907">
        <dgm:presLayoutVars>
          <dgm:chPref val="3"/>
        </dgm:presLayoutVars>
      </dgm:prSet>
      <dgm:spPr/>
      <dgm:t>
        <a:bodyPr/>
        <a:lstStyle/>
        <a:p>
          <a:endParaRPr lang="es-PE"/>
        </a:p>
      </dgm:t>
    </dgm:pt>
    <dgm:pt modelId="{18A777C0-B51F-4DC3-97B3-B06AE2BB0A34}" type="pres">
      <dgm:prSet presAssocID="{0EA240B4-38C4-44ED-AAE0-FC26B4195074}" presName="rootConnector" presStyleLbl="node2" presStyleIdx="5" presStyleCnt="9"/>
      <dgm:spPr/>
      <dgm:t>
        <a:bodyPr/>
        <a:lstStyle/>
        <a:p>
          <a:endParaRPr lang="es-PE"/>
        </a:p>
      </dgm:t>
    </dgm:pt>
    <dgm:pt modelId="{94098C9E-922A-4E25-80D8-A13C5A7A1562}" type="pres">
      <dgm:prSet presAssocID="{0EA240B4-38C4-44ED-AAE0-FC26B4195074}" presName="hierChild4" presStyleCnt="0"/>
      <dgm:spPr/>
    </dgm:pt>
    <dgm:pt modelId="{8B7316E5-9773-4E34-964F-CC6B0F8455B0}" type="pres">
      <dgm:prSet presAssocID="{73F4B14B-5D13-414C-8AF2-417624317AA0}" presName="Name37" presStyleLbl="parChTrans1D3" presStyleIdx="20" presStyleCnt="34"/>
      <dgm:spPr/>
      <dgm:t>
        <a:bodyPr/>
        <a:lstStyle/>
        <a:p>
          <a:endParaRPr lang="es-PE"/>
        </a:p>
      </dgm:t>
    </dgm:pt>
    <dgm:pt modelId="{D215F456-BFA6-4245-878B-9C4CA79AD5F0}" type="pres">
      <dgm:prSet presAssocID="{450BB744-1B14-4FC5-B0BB-9D94A1919235}" presName="hierRoot2" presStyleCnt="0">
        <dgm:presLayoutVars>
          <dgm:hierBranch val="init"/>
        </dgm:presLayoutVars>
      </dgm:prSet>
      <dgm:spPr/>
    </dgm:pt>
    <dgm:pt modelId="{923E4C56-1F1F-4383-8151-D8D07FB8A5C0}" type="pres">
      <dgm:prSet presAssocID="{450BB744-1B14-4FC5-B0BB-9D94A1919235}" presName="rootComposite" presStyleCnt="0"/>
      <dgm:spPr/>
    </dgm:pt>
    <dgm:pt modelId="{CCB409D9-17BE-4D52-8CD5-95171BD939A0}" type="pres">
      <dgm:prSet presAssocID="{450BB744-1B14-4FC5-B0BB-9D94A1919235}" presName="rootText" presStyleLbl="node3" presStyleIdx="20" presStyleCnt="34" custScaleY="132717">
        <dgm:presLayoutVars>
          <dgm:chPref val="3"/>
        </dgm:presLayoutVars>
      </dgm:prSet>
      <dgm:spPr/>
      <dgm:t>
        <a:bodyPr/>
        <a:lstStyle/>
        <a:p>
          <a:endParaRPr lang="es-PE"/>
        </a:p>
      </dgm:t>
    </dgm:pt>
    <dgm:pt modelId="{AE9744E2-7F66-41E7-ADB4-474A377E159D}" type="pres">
      <dgm:prSet presAssocID="{450BB744-1B14-4FC5-B0BB-9D94A1919235}" presName="rootConnector" presStyleLbl="node3" presStyleIdx="20" presStyleCnt="34"/>
      <dgm:spPr/>
      <dgm:t>
        <a:bodyPr/>
        <a:lstStyle/>
        <a:p>
          <a:endParaRPr lang="es-PE"/>
        </a:p>
      </dgm:t>
    </dgm:pt>
    <dgm:pt modelId="{C3176AA5-B353-4AAD-9375-F443BEF3DCBE}" type="pres">
      <dgm:prSet presAssocID="{450BB744-1B14-4FC5-B0BB-9D94A1919235}" presName="hierChild4" presStyleCnt="0"/>
      <dgm:spPr/>
    </dgm:pt>
    <dgm:pt modelId="{2F0ADB0E-CD7B-4AAF-8BA5-9C3671A16B20}" type="pres">
      <dgm:prSet presAssocID="{450BB744-1B14-4FC5-B0BB-9D94A1919235}" presName="hierChild5" presStyleCnt="0"/>
      <dgm:spPr/>
    </dgm:pt>
    <dgm:pt modelId="{8301A82B-26FF-4EFA-B0DF-5BFF89D576FB}" type="pres">
      <dgm:prSet presAssocID="{06C02DC4-3F48-4FB9-B7D0-A758A6F4CB7D}" presName="Name37" presStyleLbl="parChTrans1D3" presStyleIdx="21" presStyleCnt="34"/>
      <dgm:spPr/>
      <dgm:t>
        <a:bodyPr/>
        <a:lstStyle/>
        <a:p>
          <a:endParaRPr lang="es-PE"/>
        </a:p>
      </dgm:t>
    </dgm:pt>
    <dgm:pt modelId="{313B5F6E-5D14-4D35-A557-0F20B8B61801}" type="pres">
      <dgm:prSet presAssocID="{F480E6E5-B70D-4802-91BD-FE05849AA170}" presName="hierRoot2" presStyleCnt="0">
        <dgm:presLayoutVars>
          <dgm:hierBranch val="init"/>
        </dgm:presLayoutVars>
      </dgm:prSet>
      <dgm:spPr/>
    </dgm:pt>
    <dgm:pt modelId="{1E0F247A-9F35-4E7F-8BED-82A4549861AD}" type="pres">
      <dgm:prSet presAssocID="{F480E6E5-B70D-4802-91BD-FE05849AA170}" presName="rootComposite" presStyleCnt="0"/>
      <dgm:spPr/>
    </dgm:pt>
    <dgm:pt modelId="{164840EF-D075-49BA-80AC-1E6B1E9AA7D1}" type="pres">
      <dgm:prSet presAssocID="{F480E6E5-B70D-4802-91BD-FE05849AA170}" presName="rootText" presStyleLbl="node3" presStyleIdx="21" presStyleCnt="34" custScaleY="206938">
        <dgm:presLayoutVars>
          <dgm:chPref val="3"/>
        </dgm:presLayoutVars>
      </dgm:prSet>
      <dgm:spPr/>
      <dgm:t>
        <a:bodyPr/>
        <a:lstStyle/>
        <a:p>
          <a:endParaRPr lang="es-PE"/>
        </a:p>
      </dgm:t>
    </dgm:pt>
    <dgm:pt modelId="{40DCAD75-9E83-40BE-8641-EB33107F7019}" type="pres">
      <dgm:prSet presAssocID="{F480E6E5-B70D-4802-91BD-FE05849AA170}" presName="rootConnector" presStyleLbl="node3" presStyleIdx="21" presStyleCnt="34"/>
      <dgm:spPr/>
      <dgm:t>
        <a:bodyPr/>
        <a:lstStyle/>
        <a:p>
          <a:endParaRPr lang="es-PE"/>
        </a:p>
      </dgm:t>
    </dgm:pt>
    <dgm:pt modelId="{BFE797C1-1490-4F5C-AAAF-E4E643D9AC3E}" type="pres">
      <dgm:prSet presAssocID="{F480E6E5-B70D-4802-91BD-FE05849AA170}" presName="hierChild4" presStyleCnt="0"/>
      <dgm:spPr/>
    </dgm:pt>
    <dgm:pt modelId="{F3A17C41-5C09-4877-9A50-C3C4A825DFC2}" type="pres">
      <dgm:prSet presAssocID="{F480E6E5-B70D-4802-91BD-FE05849AA170}" presName="hierChild5" presStyleCnt="0"/>
      <dgm:spPr/>
    </dgm:pt>
    <dgm:pt modelId="{D4DE84D5-1D0B-4A69-9D51-6E4BCD7E74B0}" type="pres">
      <dgm:prSet presAssocID="{519AC2DA-5622-4884-9875-71D8890034C2}" presName="Name37" presStyleLbl="parChTrans1D3" presStyleIdx="22" presStyleCnt="34"/>
      <dgm:spPr/>
      <dgm:t>
        <a:bodyPr/>
        <a:lstStyle/>
        <a:p>
          <a:endParaRPr lang="es-PE"/>
        </a:p>
      </dgm:t>
    </dgm:pt>
    <dgm:pt modelId="{D7ED2995-1164-4911-8D97-3FFA35FBEF61}" type="pres">
      <dgm:prSet presAssocID="{8870271A-E916-4593-88B3-36DC9BFAF10B}" presName="hierRoot2" presStyleCnt="0">
        <dgm:presLayoutVars>
          <dgm:hierBranch val="init"/>
        </dgm:presLayoutVars>
      </dgm:prSet>
      <dgm:spPr/>
    </dgm:pt>
    <dgm:pt modelId="{CAB15317-F12F-4E5C-81E9-F97FE63D9783}" type="pres">
      <dgm:prSet presAssocID="{8870271A-E916-4593-88B3-36DC9BFAF10B}" presName="rootComposite" presStyleCnt="0"/>
      <dgm:spPr/>
    </dgm:pt>
    <dgm:pt modelId="{B6D71253-74DD-43DA-A2AD-C109F3DFD760}" type="pres">
      <dgm:prSet presAssocID="{8870271A-E916-4593-88B3-36DC9BFAF10B}" presName="rootText" presStyleLbl="node3" presStyleIdx="22" presStyleCnt="34" custScaleY="132717">
        <dgm:presLayoutVars>
          <dgm:chPref val="3"/>
        </dgm:presLayoutVars>
      </dgm:prSet>
      <dgm:spPr/>
      <dgm:t>
        <a:bodyPr/>
        <a:lstStyle/>
        <a:p>
          <a:endParaRPr lang="es-PE"/>
        </a:p>
      </dgm:t>
    </dgm:pt>
    <dgm:pt modelId="{426D2A17-0BE7-478D-B014-CA3B6C413BF6}" type="pres">
      <dgm:prSet presAssocID="{8870271A-E916-4593-88B3-36DC9BFAF10B}" presName="rootConnector" presStyleLbl="node3" presStyleIdx="22" presStyleCnt="34"/>
      <dgm:spPr/>
      <dgm:t>
        <a:bodyPr/>
        <a:lstStyle/>
        <a:p>
          <a:endParaRPr lang="es-PE"/>
        </a:p>
      </dgm:t>
    </dgm:pt>
    <dgm:pt modelId="{68A92F2F-2B34-493C-B93E-D1494A0D04AE}" type="pres">
      <dgm:prSet presAssocID="{8870271A-E916-4593-88B3-36DC9BFAF10B}" presName="hierChild4" presStyleCnt="0"/>
      <dgm:spPr/>
    </dgm:pt>
    <dgm:pt modelId="{A4E5790F-0F45-4505-825A-62A1C6656134}" type="pres">
      <dgm:prSet presAssocID="{8870271A-E916-4593-88B3-36DC9BFAF10B}" presName="hierChild5" presStyleCnt="0"/>
      <dgm:spPr/>
    </dgm:pt>
    <dgm:pt modelId="{CD9863CD-7D36-4932-80A3-F3EDA2C1A7B5}" type="pres">
      <dgm:prSet presAssocID="{7D9B9703-2721-4071-BFE3-C61D5E254D1D}" presName="Name37" presStyleLbl="parChTrans1D3" presStyleIdx="23" presStyleCnt="34"/>
      <dgm:spPr/>
      <dgm:t>
        <a:bodyPr/>
        <a:lstStyle/>
        <a:p>
          <a:endParaRPr lang="es-PE"/>
        </a:p>
      </dgm:t>
    </dgm:pt>
    <dgm:pt modelId="{B4E7CA9E-8B50-43D0-90BF-60EFBFF915CB}" type="pres">
      <dgm:prSet presAssocID="{D1224561-2B71-4A33-BB85-D90D09242BBB}" presName="hierRoot2" presStyleCnt="0">
        <dgm:presLayoutVars>
          <dgm:hierBranch val="init"/>
        </dgm:presLayoutVars>
      </dgm:prSet>
      <dgm:spPr/>
    </dgm:pt>
    <dgm:pt modelId="{4F30B142-7EF5-4947-9AE0-62E46DF4FBCF}" type="pres">
      <dgm:prSet presAssocID="{D1224561-2B71-4A33-BB85-D90D09242BBB}" presName="rootComposite" presStyleCnt="0"/>
      <dgm:spPr/>
    </dgm:pt>
    <dgm:pt modelId="{B00093B9-2203-43F2-A035-A931774A0873}" type="pres">
      <dgm:prSet presAssocID="{D1224561-2B71-4A33-BB85-D90D09242BBB}" presName="rootText" presStyleLbl="node3" presStyleIdx="23" presStyleCnt="34" custScaleY="132717">
        <dgm:presLayoutVars>
          <dgm:chPref val="3"/>
        </dgm:presLayoutVars>
      </dgm:prSet>
      <dgm:spPr/>
      <dgm:t>
        <a:bodyPr/>
        <a:lstStyle/>
        <a:p>
          <a:endParaRPr lang="es-PE"/>
        </a:p>
      </dgm:t>
    </dgm:pt>
    <dgm:pt modelId="{9000BEEE-6E9F-4065-AFD5-25E8EE714025}" type="pres">
      <dgm:prSet presAssocID="{D1224561-2B71-4A33-BB85-D90D09242BBB}" presName="rootConnector" presStyleLbl="node3" presStyleIdx="23" presStyleCnt="34"/>
      <dgm:spPr/>
      <dgm:t>
        <a:bodyPr/>
        <a:lstStyle/>
        <a:p>
          <a:endParaRPr lang="es-PE"/>
        </a:p>
      </dgm:t>
    </dgm:pt>
    <dgm:pt modelId="{5D42BB2F-63FA-4F76-8737-567824EAD939}" type="pres">
      <dgm:prSet presAssocID="{D1224561-2B71-4A33-BB85-D90D09242BBB}" presName="hierChild4" presStyleCnt="0"/>
      <dgm:spPr/>
    </dgm:pt>
    <dgm:pt modelId="{5932383C-55AB-496E-8F61-3FFF72C6B321}" type="pres">
      <dgm:prSet presAssocID="{D1224561-2B71-4A33-BB85-D90D09242BBB}" presName="hierChild5" presStyleCnt="0"/>
      <dgm:spPr/>
    </dgm:pt>
    <dgm:pt modelId="{4C28C9BD-4C70-45A3-93D3-876280B1CD11}" type="pres">
      <dgm:prSet presAssocID="{0EA240B4-38C4-44ED-AAE0-FC26B4195074}" presName="hierChild5" presStyleCnt="0"/>
      <dgm:spPr/>
    </dgm:pt>
    <dgm:pt modelId="{F924925C-F21D-4A89-B5FE-96B7AC8B4EB3}" type="pres">
      <dgm:prSet presAssocID="{004A1139-A8D8-419E-AD33-019D4A53288B}" presName="Name37" presStyleLbl="parChTrans1D2" presStyleIdx="6" presStyleCnt="9"/>
      <dgm:spPr/>
      <dgm:t>
        <a:bodyPr/>
        <a:lstStyle/>
        <a:p>
          <a:endParaRPr lang="es-PE"/>
        </a:p>
      </dgm:t>
    </dgm:pt>
    <dgm:pt modelId="{17311BC9-CBF3-418E-B133-B62D612E1C70}" type="pres">
      <dgm:prSet presAssocID="{DB207B05-199E-4FC1-BFE9-260AC9289BEC}" presName="hierRoot2" presStyleCnt="0">
        <dgm:presLayoutVars>
          <dgm:hierBranch val="init"/>
        </dgm:presLayoutVars>
      </dgm:prSet>
      <dgm:spPr/>
    </dgm:pt>
    <dgm:pt modelId="{1621C6AE-81C4-433C-B25C-A933F54BDF59}" type="pres">
      <dgm:prSet presAssocID="{DB207B05-199E-4FC1-BFE9-260AC9289BEC}" presName="rootComposite" presStyleCnt="0"/>
      <dgm:spPr/>
    </dgm:pt>
    <dgm:pt modelId="{429E6F42-71A5-4822-B7AC-EF9BE8857790}" type="pres">
      <dgm:prSet presAssocID="{DB207B05-199E-4FC1-BFE9-260AC9289BEC}" presName="rootText" presStyleLbl="node2" presStyleIdx="6" presStyleCnt="9" custScaleY="146585">
        <dgm:presLayoutVars>
          <dgm:chPref val="3"/>
        </dgm:presLayoutVars>
      </dgm:prSet>
      <dgm:spPr/>
      <dgm:t>
        <a:bodyPr/>
        <a:lstStyle/>
        <a:p>
          <a:endParaRPr lang="es-PE"/>
        </a:p>
      </dgm:t>
    </dgm:pt>
    <dgm:pt modelId="{DC463041-45A6-4401-AFEB-6D11D2B9740E}" type="pres">
      <dgm:prSet presAssocID="{DB207B05-199E-4FC1-BFE9-260AC9289BEC}" presName="rootConnector" presStyleLbl="node2" presStyleIdx="6" presStyleCnt="9"/>
      <dgm:spPr/>
      <dgm:t>
        <a:bodyPr/>
        <a:lstStyle/>
        <a:p>
          <a:endParaRPr lang="es-PE"/>
        </a:p>
      </dgm:t>
    </dgm:pt>
    <dgm:pt modelId="{887051B1-A80D-4F6D-B7DD-400A92DFA231}" type="pres">
      <dgm:prSet presAssocID="{DB207B05-199E-4FC1-BFE9-260AC9289BEC}" presName="hierChild4" presStyleCnt="0"/>
      <dgm:spPr/>
    </dgm:pt>
    <dgm:pt modelId="{DB403472-1495-4555-A660-69C01159E1DC}" type="pres">
      <dgm:prSet presAssocID="{08DCE355-D590-4B8E-802C-D1603CC035FA}" presName="Name37" presStyleLbl="parChTrans1D3" presStyleIdx="24" presStyleCnt="34"/>
      <dgm:spPr/>
      <dgm:t>
        <a:bodyPr/>
        <a:lstStyle/>
        <a:p>
          <a:endParaRPr lang="es-PE"/>
        </a:p>
      </dgm:t>
    </dgm:pt>
    <dgm:pt modelId="{FFEE1153-9AA6-4516-BBCB-8EED056E6A34}" type="pres">
      <dgm:prSet presAssocID="{FF9A1D1F-B679-4035-8988-EC9272FA5847}" presName="hierRoot2" presStyleCnt="0">
        <dgm:presLayoutVars>
          <dgm:hierBranch val="init"/>
        </dgm:presLayoutVars>
      </dgm:prSet>
      <dgm:spPr/>
    </dgm:pt>
    <dgm:pt modelId="{C4E4E57A-9ECB-4259-8DA3-D70E8ADFD4DC}" type="pres">
      <dgm:prSet presAssocID="{FF9A1D1F-B679-4035-8988-EC9272FA5847}" presName="rootComposite" presStyleCnt="0"/>
      <dgm:spPr/>
    </dgm:pt>
    <dgm:pt modelId="{B93231A2-9AC7-40CB-960A-1F0A9D68B86C}" type="pres">
      <dgm:prSet presAssocID="{FF9A1D1F-B679-4035-8988-EC9272FA5847}" presName="rootText" presStyleLbl="node3" presStyleIdx="24" presStyleCnt="34" custScaleY="132717">
        <dgm:presLayoutVars>
          <dgm:chPref val="3"/>
        </dgm:presLayoutVars>
      </dgm:prSet>
      <dgm:spPr/>
      <dgm:t>
        <a:bodyPr/>
        <a:lstStyle/>
        <a:p>
          <a:endParaRPr lang="es-PE"/>
        </a:p>
      </dgm:t>
    </dgm:pt>
    <dgm:pt modelId="{2F0B692C-8BF6-4992-9303-5EE2B2E1C803}" type="pres">
      <dgm:prSet presAssocID="{FF9A1D1F-B679-4035-8988-EC9272FA5847}" presName="rootConnector" presStyleLbl="node3" presStyleIdx="24" presStyleCnt="34"/>
      <dgm:spPr/>
      <dgm:t>
        <a:bodyPr/>
        <a:lstStyle/>
        <a:p>
          <a:endParaRPr lang="es-PE"/>
        </a:p>
      </dgm:t>
    </dgm:pt>
    <dgm:pt modelId="{D67B4B06-CFBC-498B-BCAB-99F9AB95FFBB}" type="pres">
      <dgm:prSet presAssocID="{FF9A1D1F-B679-4035-8988-EC9272FA5847}" presName="hierChild4" presStyleCnt="0"/>
      <dgm:spPr/>
    </dgm:pt>
    <dgm:pt modelId="{E9FF93E6-DE1F-4612-AACF-497AABC88656}" type="pres">
      <dgm:prSet presAssocID="{FF9A1D1F-B679-4035-8988-EC9272FA5847}" presName="hierChild5" presStyleCnt="0"/>
      <dgm:spPr/>
    </dgm:pt>
    <dgm:pt modelId="{CB7DB2EC-2962-4694-833B-7195FBA3B24C}" type="pres">
      <dgm:prSet presAssocID="{8CC0FFD0-E578-43E0-8B9E-D611EA5E45FF}" presName="Name37" presStyleLbl="parChTrans1D3" presStyleIdx="25" presStyleCnt="34"/>
      <dgm:spPr/>
      <dgm:t>
        <a:bodyPr/>
        <a:lstStyle/>
        <a:p>
          <a:endParaRPr lang="es-PE"/>
        </a:p>
      </dgm:t>
    </dgm:pt>
    <dgm:pt modelId="{A85ABCE7-AC0B-4287-8A37-2E0A9873CF87}" type="pres">
      <dgm:prSet presAssocID="{C53EB2CB-A4A7-42C1-ABDC-482F25104D90}" presName="hierRoot2" presStyleCnt="0">
        <dgm:presLayoutVars>
          <dgm:hierBranch val="init"/>
        </dgm:presLayoutVars>
      </dgm:prSet>
      <dgm:spPr/>
    </dgm:pt>
    <dgm:pt modelId="{413E6915-1852-42DD-94A7-57FA19DB53A8}" type="pres">
      <dgm:prSet presAssocID="{C53EB2CB-A4A7-42C1-ABDC-482F25104D90}" presName="rootComposite" presStyleCnt="0"/>
      <dgm:spPr/>
    </dgm:pt>
    <dgm:pt modelId="{54225024-149D-4187-9B46-BAF28ED40CB2}" type="pres">
      <dgm:prSet presAssocID="{C53EB2CB-A4A7-42C1-ABDC-482F25104D90}" presName="rootText" presStyleLbl="node3" presStyleIdx="25" presStyleCnt="34" custScaleY="132717">
        <dgm:presLayoutVars>
          <dgm:chPref val="3"/>
        </dgm:presLayoutVars>
      </dgm:prSet>
      <dgm:spPr/>
      <dgm:t>
        <a:bodyPr/>
        <a:lstStyle/>
        <a:p>
          <a:endParaRPr lang="es-PE"/>
        </a:p>
      </dgm:t>
    </dgm:pt>
    <dgm:pt modelId="{63897C55-F630-4C89-9E80-4FD0717294EC}" type="pres">
      <dgm:prSet presAssocID="{C53EB2CB-A4A7-42C1-ABDC-482F25104D90}" presName="rootConnector" presStyleLbl="node3" presStyleIdx="25" presStyleCnt="34"/>
      <dgm:spPr/>
      <dgm:t>
        <a:bodyPr/>
        <a:lstStyle/>
        <a:p>
          <a:endParaRPr lang="es-PE"/>
        </a:p>
      </dgm:t>
    </dgm:pt>
    <dgm:pt modelId="{DA42CF79-F3E6-4761-8BCB-EC9CF8040792}" type="pres">
      <dgm:prSet presAssocID="{C53EB2CB-A4A7-42C1-ABDC-482F25104D90}" presName="hierChild4" presStyleCnt="0"/>
      <dgm:spPr/>
    </dgm:pt>
    <dgm:pt modelId="{55E7CA84-2E98-47D3-8D50-AFE35A5276EF}" type="pres">
      <dgm:prSet presAssocID="{C53EB2CB-A4A7-42C1-ABDC-482F25104D90}" presName="hierChild5" presStyleCnt="0"/>
      <dgm:spPr/>
    </dgm:pt>
    <dgm:pt modelId="{194478CE-8568-4931-8DFB-B81536ECE4F0}" type="pres">
      <dgm:prSet presAssocID="{04A48A20-FDBA-49E5-AA1A-FE0BB34F9AD7}" presName="Name37" presStyleLbl="parChTrans1D3" presStyleIdx="26" presStyleCnt="34"/>
      <dgm:spPr/>
      <dgm:t>
        <a:bodyPr/>
        <a:lstStyle/>
        <a:p>
          <a:endParaRPr lang="es-PE"/>
        </a:p>
      </dgm:t>
    </dgm:pt>
    <dgm:pt modelId="{DD2F1A7E-1CD8-41BD-803F-7391BD389245}" type="pres">
      <dgm:prSet presAssocID="{1632036F-9A7E-40FB-B92C-CC697B53B432}" presName="hierRoot2" presStyleCnt="0">
        <dgm:presLayoutVars>
          <dgm:hierBranch val="init"/>
        </dgm:presLayoutVars>
      </dgm:prSet>
      <dgm:spPr/>
    </dgm:pt>
    <dgm:pt modelId="{1D11A3F0-6EC8-4657-AE49-34116DED2A49}" type="pres">
      <dgm:prSet presAssocID="{1632036F-9A7E-40FB-B92C-CC697B53B432}" presName="rootComposite" presStyleCnt="0"/>
      <dgm:spPr/>
    </dgm:pt>
    <dgm:pt modelId="{7B9450D2-E45A-44CB-BEAD-4AC865E140D0}" type="pres">
      <dgm:prSet presAssocID="{1632036F-9A7E-40FB-B92C-CC697B53B432}" presName="rootText" presStyleLbl="node3" presStyleIdx="26" presStyleCnt="34" custScaleY="132717">
        <dgm:presLayoutVars>
          <dgm:chPref val="3"/>
        </dgm:presLayoutVars>
      </dgm:prSet>
      <dgm:spPr/>
      <dgm:t>
        <a:bodyPr/>
        <a:lstStyle/>
        <a:p>
          <a:endParaRPr lang="es-PE"/>
        </a:p>
      </dgm:t>
    </dgm:pt>
    <dgm:pt modelId="{D8193C2D-300E-4953-8000-69B635B9448D}" type="pres">
      <dgm:prSet presAssocID="{1632036F-9A7E-40FB-B92C-CC697B53B432}" presName="rootConnector" presStyleLbl="node3" presStyleIdx="26" presStyleCnt="34"/>
      <dgm:spPr/>
      <dgm:t>
        <a:bodyPr/>
        <a:lstStyle/>
        <a:p>
          <a:endParaRPr lang="es-PE"/>
        </a:p>
      </dgm:t>
    </dgm:pt>
    <dgm:pt modelId="{E6ECA57A-0DE1-4CF1-8CAD-1C3B94160C1A}" type="pres">
      <dgm:prSet presAssocID="{1632036F-9A7E-40FB-B92C-CC697B53B432}" presName="hierChild4" presStyleCnt="0"/>
      <dgm:spPr/>
    </dgm:pt>
    <dgm:pt modelId="{12123E84-5251-4E9B-BFFB-CA46A427B385}" type="pres">
      <dgm:prSet presAssocID="{1632036F-9A7E-40FB-B92C-CC697B53B432}" presName="hierChild5" presStyleCnt="0"/>
      <dgm:spPr/>
    </dgm:pt>
    <dgm:pt modelId="{A4369D11-075C-4A5F-BA46-A618892793FD}" type="pres">
      <dgm:prSet presAssocID="{5B973356-7140-4BC6-8BF7-97065A84EBD5}" presName="Name37" presStyleLbl="parChTrans1D3" presStyleIdx="27" presStyleCnt="34"/>
      <dgm:spPr/>
      <dgm:t>
        <a:bodyPr/>
        <a:lstStyle/>
        <a:p>
          <a:endParaRPr lang="es-PE"/>
        </a:p>
      </dgm:t>
    </dgm:pt>
    <dgm:pt modelId="{965A9D65-CDA2-4ACD-95FC-C1568BEAEFAE}" type="pres">
      <dgm:prSet presAssocID="{DDFB15C2-BF16-4383-B43E-7592FE332335}" presName="hierRoot2" presStyleCnt="0">
        <dgm:presLayoutVars>
          <dgm:hierBranch val="init"/>
        </dgm:presLayoutVars>
      </dgm:prSet>
      <dgm:spPr/>
    </dgm:pt>
    <dgm:pt modelId="{08ADB67A-07D1-47A9-8D49-C5AC5143AC58}" type="pres">
      <dgm:prSet presAssocID="{DDFB15C2-BF16-4383-B43E-7592FE332335}" presName="rootComposite" presStyleCnt="0"/>
      <dgm:spPr/>
    </dgm:pt>
    <dgm:pt modelId="{A553870E-2E7F-46B5-B678-9D7A0ED4C5D0}" type="pres">
      <dgm:prSet presAssocID="{DDFB15C2-BF16-4383-B43E-7592FE332335}" presName="rootText" presStyleLbl="node3" presStyleIdx="27" presStyleCnt="34" custScaleY="169823">
        <dgm:presLayoutVars>
          <dgm:chPref val="3"/>
        </dgm:presLayoutVars>
      </dgm:prSet>
      <dgm:spPr/>
      <dgm:t>
        <a:bodyPr/>
        <a:lstStyle/>
        <a:p>
          <a:endParaRPr lang="es-PE"/>
        </a:p>
      </dgm:t>
    </dgm:pt>
    <dgm:pt modelId="{8BF43AC8-2CA4-4B74-A42B-AC59FFB62EAE}" type="pres">
      <dgm:prSet presAssocID="{DDFB15C2-BF16-4383-B43E-7592FE332335}" presName="rootConnector" presStyleLbl="node3" presStyleIdx="27" presStyleCnt="34"/>
      <dgm:spPr/>
      <dgm:t>
        <a:bodyPr/>
        <a:lstStyle/>
        <a:p>
          <a:endParaRPr lang="es-PE"/>
        </a:p>
      </dgm:t>
    </dgm:pt>
    <dgm:pt modelId="{A8F2488F-125D-48DA-B218-84CE15EB7009}" type="pres">
      <dgm:prSet presAssocID="{DDFB15C2-BF16-4383-B43E-7592FE332335}" presName="hierChild4" presStyleCnt="0"/>
      <dgm:spPr/>
    </dgm:pt>
    <dgm:pt modelId="{A59060D5-45E6-4286-ADAA-EDA4BA42430C}" type="pres">
      <dgm:prSet presAssocID="{DDFB15C2-BF16-4383-B43E-7592FE332335}" presName="hierChild5" presStyleCnt="0"/>
      <dgm:spPr/>
    </dgm:pt>
    <dgm:pt modelId="{AB710F92-7FE7-43D8-8275-0F1C4301BF3B}" type="pres">
      <dgm:prSet presAssocID="{DB207B05-199E-4FC1-BFE9-260AC9289BEC}" presName="hierChild5" presStyleCnt="0"/>
      <dgm:spPr/>
    </dgm:pt>
    <dgm:pt modelId="{37C267AB-0C11-4559-BF41-E94E8C6276C9}" type="pres">
      <dgm:prSet presAssocID="{37C2EDC9-7AA7-40B3-939F-B7B1E9FDCCE7}" presName="Name37" presStyleLbl="parChTrans1D2" presStyleIdx="7" presStyleCnt="9"/>
      <dgm:spPr/>
      <dgm:t>
        <a:bodyPr/>
        <a:lstStyle/>
        <a:p>
          <a:endParaRPr lang="es-PE"/>
        </a:p>
      </dgm:t>
    </dgm:pt>
    <dgm:pt modelId="{9F0C36E0-C3FB-4871-ABC2-F1B1869D62C4}" type="pres">
      <dgm:prSet presAssocID="{162A159F-316C-44C7-94B7-5A9CA71EC76B}" presName="hierRoot2" presStyleCnt="0">
        <dgm:presLayoutVars>
          <dgm:hierBranch val="init"/>
        </dgm:presLayoutVars>
      </dgm:prSet>
      <dgm:spPr/>
    </dgm:pt>
    <dgm:pt modelId="{7D5C4EB8-35AD-4867-8371-C42C23936ECA}" type="pres">
      <dgm:prSet presAssocID="{162A159F-316C-44C7-94B7-5A9CA71EC76B}" presName="rootComposite" presStyleCnt="0"/>
      <dgm:spPr/>
    </dgm:pt>
    <dgm:pt modelId="{DF978ED3-101A-4A47-A40D-C7CA39F6E736}" type="pres">
      <dgm:prSet presAssocID="{162A159F-316C-44C7-94B7-5A9CA71EC76B}" presName="rootText" presStyleLbl="node2" presStyleIdx="7" presStyleCnt="9" custScaleY="146585">
        <dgm:presLayoutVars>
          <dgm:chPref val="3"/>
        </dgm:presLayoutVars>
      </dgm:prSet>
      <dgm:spPr/>
      <dgm:t>
        <a:bodyPr/>
        <a:lstStyle/>
        <a:p>
          <a:endParaRPr lang="es-PE"/>
        </a:p>
      </dgm:t>
    </dgm:pt>
    <dgm:pt modelId="{BC4ABC45-3174-4F7B-A856-369C8B9F3CFE}" type="pres">
      <dgm:prSet presAssocID="{162A159F-316C-44C7-94B7-5A9CA71EC76B}" presName="rootConnector" presStyleLbl="node2" presStyleIdx="7" presStyleCnt="9"/>
      <dgm:spPr/>
      <dgm:t>
        <a:bodyPr/>
        <a:lstStyle/>
        <a:p>
          <a:endParaRPr lang="es-PE"/>
        </a:p>
      </dgm:t>
    </dgm:pt>
    <dgm:pt modelId="{92E14FE1-6F29-4D5C-B0E7-487E7D843B16}" type="pres">
      <dgm:prSet presAssocID="{162A159F-316C-44C7-94B7-5A9CA71EC76B}" presName="hierChild4" presStyleCnt="0"/>
      <dgm:spPr/>
    </dgm:pt>
    <dgm:pt modelId="{793A5BA4-3386-4F35-8F0F-3815DE3B2062}" type="pres">
      <dgm:prSet presAssocID="{A8D4E333-5BE9-4AD9-B1B8-53094812856D}" presName="Name37" presStyleLbl="parChTrans1D3" presStyleIdx="28" presStyleCnt="34"/>
      <dgm:spPr/>
      <dgm:t>
        <a:bodyPr/>
        <a:lstStyle/>
        <a:p>
          <a:endParaRPr lang="es-PE"/>
        </a:p>
      </dgm:t>
    </dgm:pt>
    <dgm:pt modelId="{17CDE30A-B656-4DA9-88AB-A32030E9736F}" type="pres">
      <dgm:prSet presAssocID="{D384E35D-0B36-4D34-9DD7-A9B2213E793C}" presName="hierRoot2" presStyleCnt="0">
        <dgm:presLayoutVars>
          <dgm:hierBranch val="init"/>
        </dgm:presLayoutVars>
      </dgm:prSet>
      <dgm:spPr/>
    </dgm:pt>
    <dgm:pt modelId="{13020843-0F98-4AB3-B18E-E5D0E8560452}" type="pres">
      <dgm:prSet presAssocID="{D384E35D-0B36-4D34-9DD7-A9B2213E793C}" presName="rootComposite" presStyleCnt="0"/>
      <dgm:spPr/>
    </dgm:pt>
    <dgm:pt modelId="{365EA09E-A2C5-4853-93D2-D3F70EBFB5C1}" type="pres">
      <dgm:prSet presAssocID="{D384E35D-0B36-4D34-9DD7-A9B2213E793C}" presName="rootText" presStyleLbl="node3" presStyleIdx="28" presStyleCnt="34" custScaleY="148112">
        <dgm:presLayoutVars>
          <dgm:chPref val="3"/>
        </dgm:presLayoutVars>
      </dgm:prSet>
      <dgm:spPr/>
      <dgm:t>
        <a:bodyPr/>
        <a:lstStyle/>
        <a:p>
          <a:endParaRPr lang="es-PE"/>
        </a:p>
      </dgm:t>
    </dgm:pt>
    <dgm:pt modelId="{90D497F9-30BE-422C-A14E-E78FC8C54541}" type="pres">
      <dgm:prSet presAssocID="{D384E35D-0B36-4D34-9DD7-A9B2213E793C}" presName="rootConnector" presStyleLbl="node3" presStyleIdx="28" presStyleCnt="34"/>
      <dgm:spPr/>
      <dgm:t>
        <a:bodyPr/>
        <a:lstStyle/>
        <a:p>
          <a:endParaRPr lang="es-PE"/>
        </a:p>
      </dgm:t>
    </dgm:pt>
    <dgm:pt modelId="{24188F46-88EE-4888-A044-A21D705163A5}" type="pres">
      <dgm:prSet presAssocID="{D384E35D-0B36-4D34-9DD7-A9B2213E793C}" presName="hierChild4" presStyleCnt="0"/>
      <dgm:spPr/>
    </dgm:pt>
    <dgm:pt modelId="{94CC5E41-3DE5-41DF-A2E3-D172E801D28D}" type="pres">
      <dgm:prSet presAssocID="{D384E35D-0B36-4D34-9DD7-A9B2213E793C}" presName="hierChild5" presStyleCnt="0"/>
      <dgm:spPr/>
    </dgm:pt>
    <dgm:pt modelId="{C5F105FB-99A9-406A-813A-1091F0DB8C7F}" type="pres">
      <dgm:prSet presAssocID="{842D5979-06D0-4138-82C4-C1B80A339224}" presName="Name37" presStyleLbl="parChTrans1D3" presStyleIdx="29" presStyleCnt="34"/>
      <dgm:spPr/>
      <dgm:t>
        <a:bodyPr/>
        <a:lstStyle/>
        <a:p>
          <a:endParaRPr lang="es-PE"/>
        </a:p>
      </dgm:t>
    </dgm:pt>
    <dgm:pt modelId="{49624906-29FA-4156-A738-30AD3B787EDB}" type="pres">
      <dgm:prSet presAssocID="{561CE160-6066-41CE-8DC9-CD2071A6369A}" presName="hierRoot2" presStyleCnt="0">
        <dgm:presLayoutVars>
          <dgm:hierBranch val="init"/>
        </dgm:presLayoutVars>
      </dgm:prSet>
      <dgm:spPr/>
    </dgm:pt>
    <dgm:pt modelId="{D3F4865F-16B5-4923-8E90-0AE947640679}" type="pres">
      <dgm:prSet presAssocID="{561CE160-6066-41CE-8DC9-CD2071A6369A}" presName="rootComposite" presStyleCnt="0"/>
      <dgm:spPr/>
    </dgm:pt>
    <dgm:pt modelId="{EF1627D7-ACEC-487F-A3FA-2C465C84CFD4}" type="pres">
      <dgm:prSet presAssocID="{561CE160-6066-41CE-8DC9-CD2071A6369A}" presName="rootText" presStyleLbl="node3" presStyleIdx="29" presStyleCnt="34" custScaleY="212195">
        <dgm:presLayoutVars>
          <dgm:chPref val="3"/>
        </dgm:presLayoutVars>
      </dgm:prSet>
      <dgm:spPr/>
      <dgm:t>
        <a:bodyPr/>
        <a:lstStyle/>
        <a:p>
          <a:endParaRPr lang="es-PE"/>
        </a:p>
      </dgm:t>
    </dgm:pt>
    <dgm:pt modelId="{B4FE364A-D83B-41C2-90D3-BAFD328FF952}" type="pres">
      <dgm:prSet presAssocID="{561CE160-6066-41CE-8DC9-CD2071A6369A}" presName="rootConnector" presStyleLbl="node3" presStyleIdx="29" presStyleCnt="34"/>
      <dgm:spPr/>
      <dgm:t>
        <a:bodyPr/>
        <a:lstStyle/>
        <a:p>
          <a:endParaRPr lang="es-PE"/>
        </a:p>
      </dgm:t>
    </dgm:pt>
    <dgm:pt modelId="{3527D602-6386-44E4-ACBD-5C98BDE49B0E}" type="pres">
      <dgm:prSet presAssocID="{561CE160-6066-41CE-8DC9-CD2071A6369A}" presName="hierChild4" presStyleCnt="0"/>
      <dgm:spPr/>
    </dgm:pt>
    <dgm:pt modelId="{EC531D51-FA5C-427F-B545-192171CB9230}" type="pres">
      <dgm:prSet presAssocID="{561CE160-6066-41CE-8DC9-CD2071A6369A}" presName="hierChild5" presStyleCnt="0"/>
      <dgm:spPr/>
    </dgm:pt>
    <dgm:pt modelId="{CDFC16D4-8066-47D2-8435-B20297012FC0}" type="pres">
      <dgm:prSet presAssocID="{1092028B-3910-4D16-9DA4-1CB054F05F3F}" presName="Name37" presStyleLbl="parChTrans1D3" presStyleIdx="30" presStyleCnt="34"/>
      <dgm:spPr/>
      <dgm:t>
        <a:bodyPr/>
        <a:lstStyle/>
        <a:p>
          <a:endParaRPr lang="es-PE"/>
        </a:p>
      </dgm:t>
    </dgm:pt>
    <dgm:pt modelId="{4B98AF85-D016-4ACE-89C6-56FFC3CD58D5}" type="pres">
      <dgm:prSet presAssocID="{4E0EC977-049C-4A55-BDC3-6D725E3FC7EB}" presName="hierRoot2" presStyleCnt="0">
        <dgm:presLayoutVars>
          <dgm:hierBranch val="init"/>
        </dgm:presLayoutVars>
      </dgm:prSet>
      <dgm:spPr/>
    </dgm:pt>
    <dgm:pt modelId="{BAB5F18A-BED2-4B22-BC85-D7D325430B64}" type="pres">
      <dgm:prSet presAssocID="{4E0EC977-049C-4A55-BDC3-6D725E3FC7EB}" presName="rootComposite" presStyleCnt="0"/>
      <dgm:spPr/>
    </dgm:pt>
    <dgm:pt modelId="{F5CECA5E-DFEE-44F1-AA9B-8AFB32F046D0}" type="pres">
      <dgm:prSet presAssocID="{4E0EC977-049C-4A55-BDC3-6D725E3FC7EB}" presName="rootText" presStyleLbl="node3" presStyleIdx="30" presStyleCnt="34" custScaleY="146666">
        <dgm:presLayoutVars>
          <dgm:chPref val="3"/>
        </dgm:presLayoutVars>
      </dgm:prSet>
      <dgm:spPr/>
      <dgm:t>
        <a:bodyPr/>
        <a:lstStyle/>
        <a:p>
          <a:endParaRPr lang="es-PE"/>
        </a:p>
      </dgm:t>
    </dgm:pt>
    <dgm:pt modelId="{A6719A07-5BB5-4A56-86ED-109CA92F7194}" type="pres">
      <dgm:prSet presAssocID="{4E0EC977-049C-4A55-BDC3-6D725E3FC7EB}" presName="rootConnector" presStyleLbl="node3" presStyleIdx="30" presStyleCnt="34"/>
      <dgm:spPr/>
      <dgm:t>
        <a:bodyPr/>
        <a:lstStyle/>
        <a:p>
          <a:endParaRPr lang="es-PE"/>
        </a:p>
      </dgm:t>
    </dgm:pt>
    <dgm:pt modelId="{C925BB34-6B17-4451-AE41-2BD9C3B4D91D}" type="pres">
      <dgm:prSet presAssocID="{4E0EC977-049C-4A55-BDC3-6D725E3FC7EB}" presName="hierChild4" presStyleCnt="0"/>
      <dgm:spPr/>
    </dgm:pt>
    <dgm:pt modelId="{08418852-C624-4B93-A5E9-996D174B9EAA}" type="pres">
      <dgm:prSet presAssocID="{4E0EC977-049C-4A55-BDC3-6D725E3FC7EB}" presName="hierChild5" presStyleCnt="0"/>
      <dgm:spPr/>
    </dgm:pt>
    <dgm:pt modelId="{68290E20-987B-4526-9F1B-099EEF87D1A3}" type="pres">
      <dgm:prSet presAssocID="{4DF5EE0A-16C7-4FED-B3DD-A907904D91A4}" presName="Name37" presStyleLbl="parChTrans1D3" presStyleIdx="31" presStyleCnt="34"/>
      <dgm:spPr/>
      <dgm:t>
        <a:bodyPr/>
        <a:lstStyle/>
        <a:p>
          <a:endParaRPr lang="es-PE"/>
        </a:p>
      </dgm:t>
    </dgm:pt>
    <dgm:pt modelId="{AC85A4C4-F51F-4D28-8D61-19D4BAC6A751}" type="pres">
      <dgm:prSet presAssocID="{FEB45A86-037C-41E8-9592-DD6A43B633DE}" presName="hierRoot2" presStyleCnt="0">
        <dgm:presLayoutVars>
          <dgm:hierBranch val="init"/>
        </dgm:presLayoutVars>
      </dgm:prSet>
      <dgm:spPr/>
    </dgm:pt>
    <dgm:pt modelId="{E4536AFB-9E7D-4A40-8D2B-9BB07050BBD1}" type="pres">
      <dgm:prSet presAssocID="{FEB45A86-037C-41E8-9592-DD6A43B633DE}" presName="rootComposite" presStyleCnt="0"/>
      <dgm:spPr/>
    </dgm:pt>
    <dgm:pt modelId="{0050A19F-6838-409C-9FC1-8A36A5966ECA}" type="pres">
      <dgm:prSet presAssocID="{FEB45A86-037C-41E8-9592-DD6A43B633DE}" presName="rootText" presStyleLbl="node3" presStyleIdx="31" presStyleCnt="34" custScaleY="132717">
        <dgm:presLayoutVars>
          <dgm:chPref val="3"/>
        </dgm:presLayoutVars>
      </dgm:prSet>
      <dgm:spPr/>
      <dgm:t>
        <a:bodyPr/>
        <a:lstStyle/>
        <a:p>
          <a:endParaRPr lang="es-PE"/>
        </a:p>
      </dgm:t>
    </dgm:pt>
    <dgm:pt modelId="{69AAE9B4-D376-4D35-8B0D-1D1D2436BE24}" type="pres">
      <dgm:prSet presAssocID="{FEB45A86-037C-41E8-9592-DD6A43B633DE}" presName="rootConnector" presStyleLbl="node3" presStyleIdx="31" presStyleCnt="34"/>
      <dgm:spPr/>
      <dgm:t>
        <a:bodyPr/>
        <a:lstStyle/>
        <a:p>
          <a:endParaRPr lang="es-PE"/>
        </a:p>
      </dgm:t>
    </dgm:pt>
    <dgm:pt modelId="{45F48996-1EE9-4E5F-B1C7-083367EBCFD2}" type="pres">
      <dgm:prSet presAssocID="{FEB45A86-037C-41E8-9592-DD6A43B633DE}" presName="hierChild4" presStyleCnt="0"/>
      <dgm:spPr/>
    </dgm:pt>
    <dgm:pt modelId="{452423ED-A2C0-47E2-8A86-E9E5A40ADB90}" type="pres">
      <dgm:prSet presAssocID="{FEB45A86-037C-41E8-9592-DD6A43B633DE}" presName="hierChild5" presStyleCnt="0"/>
      <dgm:spPr/>
    </dgm:pt>
    <dgm:pt modelId="{4B608E37-918B-461E-ACBC-24D4CC02170A}" type="pres">
      <dgm:prSet presAssocID="{162A159F-316C-44C7-94B7-5A9CA71EC76B}" presName="hierChild5" presStyleCnt="0"/>
      <dgm:spPr/>
    </dgm:pt>
    <dgm:pt modelId="{E95E06EE-D542-4F7A-AA3C-DED1EBBFD0E1}" type="pres">
      <dgm:prSet presAssocID="{FD36B6B0-D982-464D-9946-EBA135659477}" presName="Name37" presStyleLbl="parChTrans1D2" presStyleIdx="8" presStyleCnt="9"/>
      <dgm:spPr/>
      <dgm:t>
        <a:bodyPr/>
        <a:lstStyle/>
        <a:p>
          <a:endParaRPr lang="es-PE"/>
        </a:p>
      </dgm:t>
    </dgm:pt>
    <dgm:pt modelId="{C41AD779-785B-49DB-B014-7C666DC887C7}" type="pres">
      <dgm:prSet presAssocID="{83D08804-73EE-435F-83C9-FD3E82683334}" presName="hierRoot2" presStyleCnt="0">
        <dgm:presLayoutVars>
          <dgm:hierBranch val="init"/>
        </dgm:presLayoutVars>
      </dgm:prSet>
      <dgm:spPr/>
    </dgm:pt>
    <dgm:pt modelId="{6CC3F6E0-4DDF-45FB-9777-6B02772C9599}" type="pres">
      <dgm:prSet presAssocID="{83D08804-73EE-435F-83C9-FD3E82683334}" presName="rootComposite" presStyleCnt="0"/>
      <dgm:spPr/>
    </dgm:pt>
    <dgm:pt modelId="{A5C7991E-014C-4149-8E07-AEF9E2C8B17C}" type="pres">
      <dgm:prSet presAssocID="{83D08804-73EE-435F-83C9-FD3E82683334}" presName="rootText" presStyleLbl="node2" presStyleIdx="8" presStyleCnt="9" custScaleY="146585">
        <dgm:presLayoutVars>
          <dgm:chPref val="3"/>
        </dgm:presLayoutVars>
      </dgm:prSet>
      <dgm:spPr/>
      <dgm:t>
        <a:bodyPr/>
        <a:lstStyle/>
        <a:p>
          <a:endParaRPr lang="es-PE"/>
        </a:p>
      </dgm:t>
    </dgm:pt>
    <dgm:pt modelId="{F4F48D3F-50A3-40F2-A7A1-6D2CA093E263}" type="pres">
      <dgm:prSet presAssocID="{83D08804-73EE-435F-83C9-FD3E82683334}" presName="rootConnector" presStyleLbl="node2" presStyleIdx="8" presStyleCnt="9"/>
      <dgm:spPr/>
      <dgm:t>
        <a:bodyPr/>
        <a:lstStyle/>
        <a:p>
          <a:endParaRPr lang="es-PE"/>
        </a:p>
      </dgm:t>
    </dgm:pt>
    <dgm:pt modelId="{182A9F8E-609D-4C54-BF2A-2E34C1A61948}" type="pres">
      <dgm:prSet presAssocID="{83D08804-73EE-435F-83C9-FD3E82683334}" presName="hierChild4" presStyleCnt="0"/>
      <dgm:spPr/>
    </dgm:pt>
    <dgm:pt modelId="{E04B8F2E-35A6-40F2-B216-4D1F03B20FCE}" type="pres">
      <dgm:prSet presAssocID="{E5B3377E-3EEF-4C95-9A28-17646C571D69}" presName="Name37" presStyleLbl="parChTrans1D3" presStyleIdx="32" presStyleCnt="34"/>
      <dgm:spPr/>
      <dgm:t>
        <a:bodyPr/>
        <a:lstStyle/>
        <a:p>
          <a:endParaRPr lang="es-PE"/>
        </a:p>
      </dgm:t>
    </dgm:pt>
    <dgm:pt modelId="{81F4D48B-8C67-4665-91B0-CB7F94922657}" type="pres">
      <dgm:prSet presAssocID="{6E20F264-1CF1-45D8-9057-F2EB155AD4D2}" presName="hierRoot2" presStyleCnt="0">
        <dgm:presLayoutVars>
          <dgm:hierBranch val="init"/>
        </dgm:presLayoutVars>
      </dgm:prSet>
      <dgm:spPr/>
    </dgm:pt>
    <dgm:pt modelId="{F599B4F3-3762-488B-9FA7-F3193748BBFF}" type="pres">
      <dgm:prSet presAssocID="{6E20F264-1CF1-45D8-9057-F2EB155AD4D2}" presName="rootComposite" presStyleCnt="0"/>
      <dgm:spPr/>
    </dgm:pt>
    <dgm:pt modelId="{2D1B589F-B938-440D-940F-63177CA73599}" type="pres">
      <dgm:prSet presAssocID="{6E20F264-1CF1-45D8-9057-F2EB155AD4D2}" presName="rootText" presStyleLbl="node3" presStyleIdx="32" presStyleCnt="34" custScaleY="187853">
        <dgm:presLayoutVars>
          <dgm:chPref val="3"/>
        </dgm:presLayoutVars>
      </dgm:prSet>
      <dgm:spPr/>
      <dgm:t>
        <a:bodyPr/>
        <a:lstStyle/>
        <a:p>
          <a:endParaRPr lang="es-PE"/>
        </a:p>
      </dgm:t>
    </dgm:pt>
    <dgm:pt modelId="{F7D24A9F-F9BC-461F-AC39-4ED035C1D9F9}" type="pres">
      <dgm:prSet presAssocID="{6E20F264-1CF1-45D8-9057-F2EB155AD4D2}" presName="rootConnector" presStyleLbl="node3" presStyleIdx="32" presStyleCnt="34"/>
      <dgm:spPr/>
      <dgm:t>
        <a:bodyPr/>
        <a:lstStyle/>
        <a:p>
          <a:endParaRPr lang="es-PE"/>
        </a:p>
      </dgm:t>
    </dgm:pt>
    <dgm:pt modelId="{D2B8AA94-89B9-4AE1-A8BA-D4E4D4D6EFAB}" type="pres">
      <dgm:prSet presAssocID="{6E20F264-1CF1-45D8-9057-F2EB155AD4D2}" presName="hierChild4" presStyleCnt="0"/>
      <dgm:spPr/>
    </dgm:pt>
    <dgm:pt modelId="{E9D4C183-C2AF-426E-A2B8-31E459B6ABD3}" type="pres">
      <dgm:prSet presAssocID="{6E20F264-1CF1-45D8-9057-F2EB155AD4D2}" presName="hierChild5" presStyleCnt="0"/>
      <dgm:spPr/>
    </dgm:pt>
    <dgm:pt modelId="{4E0B2B9F-2850-4791-8292-505CEBA4BAC8}" type="pres">
      <dgm:prSet presAssocID="{00B55C57-2E12-4BEB-84EB-69AEE031B1C7}" presName="Name37" presStyleLbl="parChTrans1D3" presStyleIdx="33" presStyleCnt="34"/>
      <dgm:spPr/>
      <dgm:t>
        <a:bodyPr/>
        <a:lstStyle/>
        <a:p>
          <a:endParaRPr lang="es-PE"/>
        </a:p>
      </dgm:t>
    </dgm:pt>
    <dgm:pt modelId="{08402B2D-C9AA-4ED6-B2F9-2052095FF7EE}" type="pres">
      <dgm:prSet presAssocID="{0648A065-FF7C-4A05-9DCC-264FA4D8A98C}" presName="hierRoot2" presStyleCnt="0">
        <dgm:presLayoutVars>
          <dgm:hierBranch val="init"/>
        </dgm:presLayoutVars>
      </dgm:prSet>
      <dgm:spPr/>
    </dgm:pt>
    <dgm:pt modelId="{B167ED56-6E56-4228-BC1D-8A5802B864C4}" type="pres">
      <dgm:prSet presAssocID="{0648A065-FF7C-4A05-9DCC-264FA4D8A98C}" presName="rootComposite" presStyleCnt="0"/>
      <dgm:spPr/>
    </dgm:pt>
    <dgm:pt modelId="{9C6450EA-3783-4D99-88A4-86D3FC37C055}" type="pres">
      <dgm:prSet presAssocID="{0648A065-FF7C-4A05-9DCC-264FA4D8A98C}" presName="rootText" presStyleLbl="node3" presStyleIdx="33" presStyleCnt="34" custScaleY="162661">
        <dgm:presLayoutVars>
          <dgm:chPref val="3"/>
        </dgm:presLayoutVars>
      </dgm:prSet>
      <dgm:spPr/>
      <dgm:t>
        <a:bodyPr/>
        <a:lstStyle/>
        <a:p>
          <a:endParaRPr lang="es-PE"/>
        </a:p>
      </dgm:t>
    </dgm:pt>
    <dgm:pt modelId="{28FBAB95-635B-4659-A6CC-C094D7526556}" type="pres">
      <dgm:prSet presAssocID="{0648A065-FF7C-4A05-9DCC-264FA4D8A98C}" presName="rootConnector" presStyleLbl="node3" presStyleIdx="33" presStyleCnt="34"/>
      <dgm:spPr/>
      <dgm:t>
        <a:bodyPr/>
        <a:lstStyle/>
        <a:p>
          <a:endParaRPr lang="es-PE"/>
        </a:p>
      </dgm:t>
    </dgm:pt>
    <dgm:pt modelId="{73360F73-216A-4D91-8CDE-A7376B546ACC}" type="pres">
      <dgm:prSet presAssocID="{0648A065-FF7C-4A05-9DCC-264FA4D8A98C}" presName="hierChild4" presStyleCnt="0"/>
      <dgm:spPr/>
    </dgm:pt>
    <dgm:pt modelId="{3D0D4884-651A-48BB-BADA-F433F363BA6E}" type="pres">
      <dgm:prSet presAssocID="{0648A065-FF7C-4A05-9DCC-264FA4D8A98C}" presName="hierChild5" presStyleCnt="0"/>
      <dgm:spPr/>
    </dgm:pt>
    <dgm:pt modelId="{3A7FCECA-585A-4390-A6C1-4F046F657236}" type="pres">
      <dgm:prSet presAssocID="{83D08804-73EE-435F-83C9-FD3E82683334}" presName="hierChild5" presStyleCnt="0"/>
      <dgm:spPr/>
    </dgm:pt>
    <dgm:pt modelId="{7B969BD7-2FA4-4019-B088-9D42076EF775}" type="pres">
      <dgm:prSet presAssocID="{1EDBA414-4513-4658-BE65-B7DBAEB08201}" presName="hierChild3" presStyleCnt="0"/>
      <dgm:spPr/>
    </dgm:pt>
  </dgm:ptLst>
  <dgm:cxnLst>
    <dgm:cxn modelId="{577206C1-FA0F-4551-9573-D080A08CA572}" type="presOf" srcId="{842D5979-06D0-4138-82C4-C1B80A339224}" destId="{C5F105FB-99A9-406A-813A-1091F0DB8C7F}" srcOrd="0" destOrd="0" presId="urn:microsoft.com/office/officeart/2005/8/layout/orgChart1"/>
    <dgm:cxn modelId="{D615A000-5CBB-4879-84DE-5D3D333FD46C}" type="presOf" srcId="{E59B3495-37B3-4C6F-A44D-5402BC40E91D}" destId="{BB4779EA-0DBB-4ABE-BA6F-344CD770A254}" srcOrd="0" destOrd="0" presId="urn:microsoft.com/office/officeart/2005/8/layout/orgChart1"/>
    <dgm:cxn modelId="{05B121B7-2569-427A-B2F4-8F87C871FBDB}" type="presOf" srcId="{BB76A996-7D36-4BE3-9AE5-E35058E01F08}" destId="{29B8DF57-DCEC-467D-B181-AAF34BB64A04}" srcOrd="0" destOrd="0" presId="urn:microsoft.com/office/officeart/2005/8/layout/orgChart1"/>
    <dgm:cxn modelId="{CB0F601F-A440-4BDC-A684-36B15AA15C7A}" type="presOf" srcId="{A19335BB-6F44-45C9-A8E9-53E4D15807C0}" destId="{64DA4B9F-6F40-48C5-93BB-3113343246D4}" srcOrd="0" destOrd="0" presId="urn:microsoft.com/office/officeart/2005/8/layout/orgChart1"/>
    <dgm:cxn modelId="{2D375220-9000-410E-B08D-95A589E65F52}" type="presOf" srcId="{FD36B6B0-D982-464D-9946-EBA135659477}" destId="{E95E06EE-D542-4F7A-AA3C-DED1EBBFD0E1}" srcOrd="0" destOrd="0" presId="urn:microsoft.com/office/officeart/2005/8/layout/orgChart1"/>
    <dgm:cxn modelId="{2240496E-4CD9-4ADC-82BE-53693BFCDD42}" type="presOf" srcId="{FAAEFADD-987A-4F86-AD0D-512489C91ADE}" destId="{FA945DE8-BAF1-4083-9ABC-64AA9415B31D}" srcOrd="1" destOrd="0" presId="urn:microsoft.com/office/officeart/2005/8/layout/orgChart1"/>
    <dgm:cxn modelId="{B851BE59-0AFF-4B1F-ABE3-88057C38E433}" type="presOf" srcId="{4E0EC977-049C-4A55-BDC3-6D725E3FC7EB}" destId="{A6719A07-5BB5-4A56-86ED-109CA92F7194}" srcOrd="1" destOrd="0" presId="urn:microsoft.com/office/officeart/2005/8/layout/orgChart1"/>
    <dgm:cxn modelId="{BA53624D-64AF-44C9-9AAA-D92D97CA8AA4}" type="presOf" srcId="{51D2767D-A37A-4C96-88A1-E9DB74959CE2}" destId="{3DD2221E-6403-4756-951F-0FB9C2AC803A}" srcOrd="0" destOrd="0" presId="urn:microsoft.com/office/officeart/2005/8/layout/orgChart1"/>
    <dgm:cxn modelId="{AEE879A4-ACAC-4B67-9116-80FCEC6E353C}" type="presOf" srcId="{B6BF926F-18B7-451F-B182-E9660B5BC37F}" destId="{2A08E1BB-B8BF-4FF2-BC90-85483B90E0FF}" srcOrd="1" destOrd="0" presId="urn:microsoft.com/office/officeart/2005/8/layout/orgChart1"/>
    <dgm:cxn modelId="{9B8DE798-97D8-42DB-94ED-BA00E1FD4031}" srcId="{724B850C-CB70-44AD-BD85-E4612A5059A1}" destId="{56C0A437-954D-44F4-912F-8784204FC4D6}" srcOrd="0" destOrd="0" parTransId="{8EDF6A87-EA2F-4D43-9623-B2BC544CDCE5}" sibTransId="{27764E14-9779-47A1-8021-945455065389}"/>
    <dgm:cxn modelId="{AB3F0180-1490-48E5-B513-CF2F720C1667}" type="presOf" srcId="{01106A15-B5C3-401F-A2AD-6B329F1D4E46}" destId="{EA4674C8-EA51-4CF4-8DF9-43F2391F3F74}" srcOrd="0" destOrd="0" presId="urn:microsoft.com/office/officeart/2005/8/layout/orgChart1"/>
    <dgm:cxn modelId="{BD71BF15-36F0-4700-8F7C-81A6CB066448}" type="presOf" srcId="{E5B3377E-3EEF-4C95-9A28-17646C571D69}" destId="{E04B8F2E-35A6-40F2-B216-4D1F03B20FCE}" srcOrd="0" destOrd="0" presId="urn:microsoft.com/office/officeart/2005/8/layout/orgChart1"/>
    <dgm:cxn modelId="{D576B384-F322-43E9-9D25-F9FF9FF3778A}" type="presOf" srcId="{A8D4E333-5BE9-4AD9-B1B8-53094812856D}" destId="{793A5BA4-3386-4F35-8F0F-3815DE3B2062}" srcOrd="0" destOrd="0" presId="urn:microsoft.com/office/officeart/2005/8/layout/orgChart1"/>
    <dgm:cxn modelId="{F468B6AB-7DCA-40D2-84E0-B326D1EE4C68}" type="presOf" srcId="{65E9CE21-23B3-45AE-A4B9-66EF1B0F6D07}" destId="{D138691D-C139-4868-A6AD-7EDD3DFB9FAE}" srcOrd="1" destOrd="0" presId="urn:microsoft.com/office/officeart/2005/8/layout/orgChart1"/>
    <dgm:cxn modelId="{DD631E5E-04BF-42FC-A7E2-B6242E4D324D}" srcId="{CF66BBB3-E722-4F8B-BCA9-CAC23B0F5D61}" destId="{FAAEFADD-987A-4F86-AD0D-512489C91ADE}" srcOrd="3" destOrd="0" parTransId="{1ABF0688-0035-4739-8B9E-151A6960CC41}" sibTransId="{8F9A86D5-7E6B-4E50-BAF9-064AC9873682}"/>
    <dgm:cxn modelId="{8559703D-515D-46F2-B7AE-B7042D912FF5}" srcId="{CF66BBB3-E722-4F8B-BCA9-CAC23B0F5D61}" destId="{783E5226-3A92-4D2B-A180-6A3A43CD9D0A}" srcOrd="1" destOrd="0" parTransId="{E01AB6D9-ECB1-495A-A700-A0CB2C7F0F06}" sibTransId="{F8F883F3-A41C-43CC-BC6B-12425F4C7A0C}"/>
    <dgm:cxn modelId="{6FA63F45-2870-435E-9A26-B03FE88F28DE}" type="presOf" srcId="{AA7BFDCA-266A-4946-8948-C36670E19CDF}" destId="{3058FDBD-24F4-4781-B6ED-3EA1E9FBDFE9}" srcOrd="1" destOrd="0" presId="urn:microsoft.com/office/officeart/2005/8/layout/orgChart1"/>
    <dgm:cxn modelId="{B828FECA-3169-4226-B464-D8F565CF4F9A}" type="presOf" srcId="{DDFB15C2-BF16-4383-B43E-7592FE332335}" destId="{8BF43AC8-2CA4-4B74-A42B-AC59FFB62EAE}" srcOrd="1" destOrd="0" presId="urn:microsoft.com/office/officeart/2005/8/layout/orgChart1"/>
    <dgm:cxn modelId="{D52A7177-7A1B-400D-B0C5-5FAD0C0CD7A5}" type="presOf" srcId="{C53EB2CB-A4A7-42C1-ABDC-482F25104D90}" destId="{63897C55-F630-4C89-9E80-4FD0717294EC}" srcOrd="1" destOrd="0" presId="urn:microsoft.com/office/officeart/2005/8/layout/orgChart1"/>
    <dgm:cxn modelId="{68204DFF-A60C-4A67-8E41-27DE1747D709}" type="presOf" srcId="{BB76A996-7D36-4BE3-9AE5-E35058E01F08}" destId="{347408BE-D6CA-4FD5-9344-550415A1E983}" srcOrd="1" destOrd="0" presId="urn:microsoft.com/office/officeart/2005/8/layout/orgChart1"/>
    <dgm:cxn modelId="{CB6AB4F6-4DCA-414F-B007-E0AF4D7CF0A1}" srcId="{063317E2-27BD-4EB1-AC29-3609E78F61AE}" destId="{EB87F310-99C6-451F-88D9-085BE3F1CC22}" srcOrd="4" destOrd="0" parTransId="{E700FACC-6271-47F6-A730-FF7B5C1A358B}" sibTransId="{12F16E6E-0D73-4B5E-952E-B943C65968DA}"/>
    <dgm:cxn modelId="{262C3CC0-C534-45AC-B148-71C0F2ACF13A}" type="presOf" srcId="{3A60EAB2-F55E-4CB5-83F5-2BE0C197D425}" destId="{7A64D23C-BE55-4001-9C11-41AA4C2DF1FC}" srcOrd="0" destOrd="0" presId="urn:microsoft.com/office/officeart/2005/8/layout/orgChart1"/>
    <dgm:cxn modelId="{2CD9FA7B-0B95-48A7-82D5-2E4F2CA9FD0D}" type="presOf" srcId="{D384E35D-0B36-4D34-9DD7-A9B2213E793C}" destId="{365EA09E-A2C5-4853-93D2-D3F70EBFB5C1}" srcOrd="0" destOrd="0" presId="urn:microsoft.com/office/officeart/2005/8/layout/orgChart1"/>
    <dgm:cxn modelId="{1963977E-4274-4C9D-A0DC-05D556FF06BA}" type="presOf" srcId="{0EA240B4-38C4-44ED-AAE0-FC26B4195074}" destId="{18A777C0-B51F-4DC3-97B3-B06AE2BB0A34}" srcOrd="1" destOrd="0" presId="urn:microsoft.com/office/officeart/2005/8/layout/orgChart1"/>
    <dgm:cxn modelId="{E5AF206F-300D-4E20-844F-7C47691B5DFE}" srcId="{063317E2-27BD-4EB1-AC29-3609E78F61AE}" destId="{8009C9A0-BEF2-4F45-A9B0-AC833D7C7D48}" srcOrd="2" destOrd="0" parTransId="{A1AECA17-618F-470F-9AFF-5364FBEA26FB}" sibTransId="{793379C5-93F9-4C0C-AD80-FBE420B21F69}"/>
    <dgm:cxn modelId="{39E20A1C-B9D1-4C6A-96A1-CB992C070B08}" type="presOf" srcId="{C3E5B338-D5BC-478C-93B8-C0DD8C60E202}" destId="{0CC4A12D-7906-4D57-8BB1-A160846422CA}" srcOrd="0" destOrd="0" presId="urn:microsoft.com/office/officeart/2005/8/layout/orgChart1"/>
    <dgm:cxn modelId="{19E47FA2-5D64-44EC-B787-E557AD157325}" type="presOf" srcId="{561CE160-6066-41CE-8DC9-CD2071A6369A}" destId="{EF1627D7-ACEC-487F-A3FA-2C465C84CFD4}" srcOrd="0" destOrd="0" presId="urn:microsoft.com/office/officeart/2005/8/layout/orgChart1"/>
    <dgm:cxn modelId="{E5F2F480-D6FB-449A-8F2A-05B86B78DB9E}" type="presOf" srcId="{8870271A-E916-4593-88B3-36DC9BFAF10B}" destId="{B6D71253-74DD-43DA-A2AD-C109F3DFD760}" srcOrd="0" destOrd="0" presId="urn:microsoft.com/office/officeart/2005/8/layout/orgChart1"/>
    <dgm:cxn modelId="{57FD60DA-683E-4D8A-8263-F97F6713DD4D}" type="presOf" srcId="{00B55C57-2E12-4BEB-84EB-69AEE031B1C7}" destId="{4E0B2B9F-2850-4791-8292-505CEBA4BAC8}" srcOrd="0" destOrd="0" presId="urn:microsoft.com/office/officeart/2005/8/layout/orgChart1"/>
    <dgm:cxn modelId="{72F46A06-F1D7-4759-A615-2B4AAF2A5947}" type="presOf" srcId="{7D9B9703-2721-4071-BFE3-C61D5E254D1D}" destId="{CD9863CD-7D36-4932-80A3-F3EDA2C1A7B5}" srcOrd="0" destOrd="0" presId="urn:microsoft.com/office/officeart/2005/8/layout/orgChart1"/>
    <dgm:cxn modelId="{C13B68FB-DF37-46C9-8BBF-3EEE96A15B4E}" srcId="{0EA240B4-38C4-44ED-AAE0-FC26B4195074}" destId="{D1224561-2B71-4A33-BB85-D90D09242BBB}" srcOrd="3" destOrd="0" parTransId="{7D9B9703-2721-4071-BFE3-C61D5E254D1D}" sibTransId="{EDC2B632-487E-4652-869D-B3689C6920CE}"/>
    <dgm:cxn modelId="{3697378E-ABDE-4466-9BCD-B180E0164F14}" srcId="{EDC7976F-F414-41E7-8BE0-618D41801E0F}" destId="{057BB54A-B147-4D1B-96F4-0A8032ABFE16}" srcOrd="1" destOrd="0" parTransId="{6CCC5378-D74F-471C-BA51-AAABBB897A87}" sibTransId="{DA31BACD-C189-424E-A253-5A5D90E093CF}"/>
    <dgm:cxn modelId="{2C31EEA1-153A-44EF-AE70-99C8B2962D17}" type="presOf" srcId="{3B961C88-49F9-4C74-A742-22BC6112AA43}" destId="{5DDC083A-8D89-43B2-87EB-72A1F25E2F92}" srcOrd="0" destOrd="0" presId="urn:microsoft.com/office/officeart/2005/8/layout/orgChart1"/>
    <dgm:cxn modelId="{DA0FBB5E-7246-4757-AB8A-ADECDB44C606}" type="presOf" srcId="{187AE46A-3C30-4F40-90FC-F6D1858E66C2}" destId="{AD845BBC-16D5-46BB-9684-35EE829008A0}" srcOrd="0" destOrd="0" presId="urn:microsoft.com/office/officeart/2005/8/layout/orgChart1"/>
    <dgm:cxn modelId="{9FD921A8-A7BF-468B-9333-E0AD956C8F38}" srcId="{CF66BBB3-E722-4F8B-BCA9-CAC23B0F5D61}" destId="{ED8E86B8-FC95-42F9-A754-7EF09CA76970}" srcOrd="0" destOrd="0" parTransId="{F8B088BC-07F4-43DD-94E6-4BA2AD31C1BA}" sibTransId="{946A9B8A-7E2A-46B2-84A0-E52191BECC1A}"/>
    <dgm:cxn modelId="{2308B556-167C-4134-8120-D6D8EA319320}" type="presOf" srcId="{83D08804-73EE-435F-83C9-FD3E82683334}" destId="{F4F48D3F-50A3-40F2-A7A1-6D2CA093E263}" srcOrd="1" destOrd="0" presId="urn:microsoft.com/office/officeart/2005/8/layout/orgChart1"/>
    <dgm:cxn modelId="{6A88CC6A-0232-4E42-B3E0-368C60DAB7C8}" type="presOf" srcId="{A63BCD70-2AEE-45A2-B03C-E215B863E0F7}" destId="{551BB232-3515-434F-A628-A1257B358A40}" srcOrd="0" destOrd="0" presId="urn:microsoft.com/office/officeart/2005/8/layout/orgChart1"/>
    <dgm:cxn modelId="{AAA73EFD-5448-4E06-8FAE-140F408FB34D}" type="presOf" srcId="{73F4B14B-5D13-414C-8AF2-417624317AA0}" destId="{8B7316E5-9773-4E34-964F-CC6B0F8455B0}" srcOrd="0" destOrd="0" presId="urn:microsoft.com/office/officeart/2005/8/layout/orgChart1"/>
    <dgm:cxn modelId="{D28FDFD7-3F25-4B05-9DB7-27F5C4FD6477}" type="presOf" srcId="{1092028B-3910-4D16-9DA4-1CB054F05F3F}" destId="{CDFC16D4-8066-47D2-8435-B20297012FC0}" srcOrd="0" destOrd="0" presId="urn:microsoft.com/office/officeart/2005/8/layout/orgChart1"/>
    <dgm:cxn modelId="{BA5212FE-0AFC-4CB0-959E-A06CE9086E4A}" type="presOf" srcId="{83D08804-73EE-435F-83C9-FD3E82683334}" destId="{A5C7991E-014C-4149-8E07-AEF9E2C8B17C}" srcOrd="0" destOrd="0" presId="urn:microsoft.com/office/officeart/2005/8/layout/orgChart1"/>
    <dgm:cxn modelId="{1796503E-A9A1-404F-A262-522B01DADA27}" type="presOf" srcId="{783E5226-3A92-4D2B-A180-6A3A43CD9D0A}" destId="{0EE34835-1A70-4C28-A337-BDA611F2BD24}" srcOrd="0" destOrd="0" presId="urn:microsoft.com/office/officeart/2005/8/layout/orgChart1"/>
    <dgm:cxn modelId="{084C5C6F-9732-4D2F-9118-166D3B1B9B3E}" type="presOf" srcId="{162A159F-316C-44C7-94B7-5A9CA71EC76B}" destId="{BC4ABC45-3174-4F7B-A856-369C8B9F3CFE}" srcOrd="1" destOrd="0" presId="urn:microsoft.com/office/officeart/2005/8/layout/orgChart1"/>
    <dgm:cxn modelId="{0F2B5CBF-7951-4FE8-806D-97F663AF5518}" type="presOf" srcId="{519AC2DA-5622-4884-9875-71D8890034C2}" destId="{D4DE84D5-1D0B-4A69-9D51-6E4BCD7E74B0}" srcOrd="0" destOrd="0" presId="urn:microsoft.com/office/officeart/2005/8/layout/orgChart1"/>
    <dgm:cxn modelId="{CE70081E-C8CA-4C17-8E7D-62304DC8346B}" srcId="{1EDBA414-4513-4658-BE65-B7DBAEB08201}" destId="{EDC7976F-F414-41E7-8BE0-618D41801E0F}" srcOrd="1" destOrd="0" parTransId="{C3E5B338-D5BC-478C-93B8-C0DD8C60E202}" sibTransId="{F9263340-6058-4B19-A1E3-0E715696BEF7}"/>
    <dgm:cxn modelId="{2998BF2D-91E4-4A70-8237-27FD181B0788}" srcId="{063317E2-27BD-4EB1-AC29-3609E78F61AE}" destId="{A61703E0-0DC6-4C08-B3D5-4EE38F3BD3DF}" srcOrd="3" destOrd="0" parTransId="{21FD61D4-A81F-4FDF-8C0E-B97FE3C813D3}" sibTransId="{81D9C0B8-505B-4728-9328-4A600007F1C3}"/>
    <dgm:cxn modelId="{0AAFF946-415B-480C-88FB-9968934AFC69}" type="presOf" srcId="{4E0EC977-049C-4A55-BDC3-6D725E3FC7EB}" destId="{F5CECA5E-DFEE-44F1-AA9B-8AFB32F046D0}" srcOrd="0" destOrd="0" presId="urn:microsoft.com/office/officeart/2005/8/layout/orgChart1"/>
    <dgm:cxn modelId="{1C200752-4687-43F0-958A-34D34ADBBAF9}" srcId="{01106A15-B5C3-401F-A2AD-6B329F1D4E46}" destId="{CD555763-BC8B-4ACE-85CF-4AC01ED860D8}" srcOrd="0" destOrd="0" parTransId="{923E3BE6-5FCC-4FF7-9DF9-1C9C410C4E08}" sibTransId="{7E47DD26-4CD0-48E0-8E09-CEC6C6897115}"/>
    <dgm:cxn modelId="{E5E7BB34-2739-4B73-8233-DBCE94B8A75C}" type="presOf" srcId="{D384E35D-0B36-4D34-9DD7-A9B2213E793C}" destId="{90D497F9-30BE-422C-A14E-E78FC8C54541}" srcOrd="1" destOrd="0" presId="urn:microsoft.com/office/officeart/2005/8/layout/orgChart1"/>
    <dgm:cxn modelId="{A3F5BFB4-46DE-4307-843D-11ACFAAE31D9}" type="presOf" srcId="{73A890BA-0A6F-4B83-9035-AD39F89F67F3}" destId="{B2FA10BA-1EBA-4689-B3D4-3583D5657FB3}" srcOrd="0" destOrd="0" presId="urn:microsoft.com/office/officeart/2005/8/layout/orgChart1"/>
    <dgm:cxn modelId="{FAABFDF3-D490-4797-93ED-55216FD9AD7C}" type="presOf" srcId="{FF9A1D1F-B679-4035-8988-EC9272FA5847}" destId="{2F0B692C-8BF6-4992-9303-5EE2B2E1C803}" srcOrd="1" destOrd="0" presId="urn:microsoft.com/office/officeart/2005/8/layout/orgChart1"/>
    <dgm:cxn modelId="{D61D6270-51AD-41E4-8A38-AF301032413F}" type="presOf" srcId="{1EDBA414-4513-4658-BE65-B7DBAEB08201}" destId="{B7A99655-78EF-427C-9357-3FC7084E15A4}" srcOrd="1" destOrd="0" presId="urn:microsoft.com/office/officeart/2005/8/layout/orgChart1"/>
    <dgm:cxn modelId="{0806A7AE-84EF-4C5F-AB7B-10B40C20FFAA}" type="presOf" srcId="{0648A065-FF7C-4A05-9DCC-264FA4D8A98C}" destId="{9C6450EA-3783-4D99-88A4-86D3FC37C055}" srcOrd="0" destOrd="0" presId="urn:microsoft.com/office/officeart/2005/8/layout/orgChart1"/>
    <dgm:cxn modelId="{6A32F5DF-1EDB-4A86-8D70-348DF2D6AAF6}" type="presOf" srcId="{057BB54A-B147-4D1B-96F4-0A8032ABFE16}" destId="{27DE2BBC-84A6-4853-A483-29AAFE979871}" srcOrd="0" destOrd="0" presId="urn:microsoft.com/office/officeart/2005/8/layout/orgChart1"/>
    <dgm:cxn modelId="{FB54D228-353D-4512-A2BF-D7F58CFE11F0}" type="presOf" srcId="{49CCDD51-703A-43A7-89D8-E7978131A522}" destId="{4D56D84C-67C3-4622-8BB3-1E488CB0B127}" srcOrd="0" destOrd="0" presId="urn:microsoft.com/office/officeart/2005/8/layout/orgChart1"/>
    <dgm:cxn modelId="{39045004-7BEC-402C-95BA-362DA300A702}" type="presOf" srcId="{EDC7976F-F414-41E7-8BE0-618D41801E0F}" destId="{8568E507-BC71-4AA2-AE1B-C7136731764A}" srcOrd="0" destOrd="0" presId="urn:microsoft.com/office/officeart/2005/8/layout/orgChart1"/>
    <dgm:cxn modelId="{34F3CD61-5517-44CE-B833-1E79AE5C4E2A}" type="presOf" srcId="{EE6DACCE-6E0D-4B5E-A904-F6535983F9C7}" destId="{5051A7D2-0B2A-4EE3-9D5B-29A9EF34D51E}" srcOrd="1" destOrd="0" presId="urn:microsoft.com/office/officeart/2005/8/layout/orgChart1"/>
    <dgm:cxn modelId="{C29A75E6-5C97-43F6-9C8A-5AF693C1B555}" srcId="{EDC7976F-F414-41E7-8BE0-618D41801E0F}" destId="{EE6DACCE-6E0D-4B5E-A904-F6535983F9C7}" srcOrd="3" destOrd="0" parTransId="{014BB544-7E6C-4818-A772-3DD88A4F5EC0}" sibTransId="{CEA5D59B-2C40-49EE-9B13-7A906B7A9544}"/>
    <dgm:cxn modelId="{C4C44AFE-35B7-4EDE-87F4-DFA02BA4274E}" srcId="{162A159F-316C-44C7-94B7-5A9CA71EC76B}" destId="{D384E35D-0B36-4D34-9DD7-A9B2213E793C}" srcOrd="0" destOrd="0" parTransId="{A8D4E333-5BE9-4AD9-B1B8-53094812856D}" sibTransId="{7E1CF15C-442E-4A01-9C70-F25600D33D53}"/>
    <dgm:cxn modelId="{CECBD915-5ADA-4E36-8F78-CD595818AA60}" type="presOf" srcId="{3B961C88-49F9-4C74-A742-22BC6112AA43}" destId="{26F369D8-ECA6-4547-9D7A-93372B0150D6}" srcOrd="1" destOrd="0" presId="urn:microsoft.com/office/officeart/2005/8/layout/orgChart1"/>
    <dgm:cxn modelId="{67C734B8-4DAF-4B96-A7EA-E6675F0F418C}" type="presOf" srcId="{C53EB2CB-A4A7-42C1-ABDC-482F25104D90}" destId="{54225024-149D-4187-9B46-BAF28ED40CB2}" srcOrd="0" destOrd="0" presId="urn:microsoft.com/office/officeart/2005/8/layout/orgChart1"/>
    <dgm:cxn modelId="{CC9ED353-C31E-4FA6-A641-6FF2CF5CC020}" type="presOf" srcId="{063317E2-27BD-4EB1-AC29-3609E78F61AE}" destId="{7A7B294D-DAE1-40BA-8AA1-7E9A0ABCE750}" srcOrd="1" destOrd="0" presId="urn:microsoft.com/office/officeart/2005/8/layout/orgChart1"/>
    <dgm:cxn modelId="{86EE107B-3856-4CA2-A0B4-42E43E4981D3}" type="presOf" srcId="{E59B3495-37B3-4C6F-A44D-5402BC40E91D}" destId="{94F60D41-8E41-4ABF-899E-EC2AB4F5F466}" srcOrd="1" destOrd="0" presId="urn:microsoft.com/office/officeart/2005/8/layout/orgChart1"/>
    <dgm:cxn modelId="{E46DDD5B-CEFD-41EC-92A3-126592D97C73}" type="presOf" srcId="{0EA240B4-38C4-44ED-AAE0-FC26B4195074}" destId="{14DCA77F-61B9-4D0D-B790-959FFF40C578}" srcOrd="0" destOrd="0" presId="urn:microsoft.com/office/officeart/2005/8/layout/orgChart1"/>
    <dgm:cxn modelId="{62796755-9BD4-445B-8F41-FD08994CCFD9}" srcId="{DB207B05-199E-4FC1-BFE9-260AC9289BEC}" destId="{C53EB2CB-A4A7-42C1-ABDC-482F25104D90}" srcOrd="1" destOrd="0" parTransId="{8CC0FFD0-E578-43E0-8B9E-D611EA5E45FF}" sibTransId="{7200EB01-AA6B-4B91-BF95-5E6775C06F03}"/>
    <dgm:cxn modelId="{895A90C6-D936-4A0B-AC77-F7CEAFE90721}" srcId="{162A159F-316C-44C7-94B7-5A9CA71EC76B}" destId="{4E0EC977-049C-4A55-BDC3-6D725E3FC7EB}" srcOrd="2" destOrd="0" parTransId="{1092028B-3910-4D16-9DA4-1CB054F05F3F}" sibTransId="{9640B16A-4EF9-4B53-95DB-A01809E70F1C}"/>
    <dgm:cxn modelId="{1640984A-6778-42A4-9F63-E6E6E297D5E6}" type="presOf" srcId="{89C43FC3-2D04-4B16-88FC-3BAFD3961ECC}" destId="{39F3AD5A-A39F-4DEA-8AE0-F10C1E466C92}" srcOrd="0" destOrd="0" presId="urn:microsoft.com/office/officeart/2005/8/layout/orgChart1"/>
    <dgm:cxn modelId="{97E52178-B709-4D34-BA78-24B1CA877E87}" type="presOf" srcId="{A1AECA17-618F-470F-9AFF-5364FBEA26FB}" destId="{E9250245-CAC4-4AFC-A9EB-65645D9DD6A3}" srcOrd="0" destOrd="0" presId="urn:microsoft.com/office/officeart/2005/8/layout/orgChart1"/>
    <dgm:cxn modelId="{52946B14-8B98-4BB5-B478-94CADEBAF3D6}" type="presOf" srcId="{8870271A-E916-4593-88B3-36DC9BFAF10B}" destId="{426D2A17-0BE7-478D-B014-CA3B6C413BF6}" srcOrd="1" destOrd="0" presId="urn:microsoft.com/office/officeart/2005/8/layout/orgChart1"/>
    <dgm:cxn modelId="{EE984A8B-5CE6-439E-8AB3-C8855C7345EC}" srcId="{1EDBA414-4513-4658-BE65-B7DBAEB08201}" destId="{0EA240B4-38C4-44ED-AAE0-FC26B4195074}" srcOrd="5" destOrd="0" parTransId="{0D651E1B-9B6A-40C8-87A3-0B21D9431F64}" sibTransId="{3A512E17-B58A-48F4-855E-5227B34AE877}"/>
    <dgm:cxn modelId="{D2209C8E-3875-4C33-BFB1-9FC4784968EB}" type="presOf" srcId="{4BECC003-82E9-4C9D-9AE4-CEFB628D5422}" destId="{13ED7F28-45D2-4653-B7F0-1133C01AC81C}" srcOrd="0" destOrd="0" presId="urn:microsoft.com/office/officeart/2005/8/layout/orgChart1"/>
    <dgm:cxn modelId="{967A65FE-DC15-4124-AC97-3A61C71EB0E2}" type="presOf" srcId="{DB207B05-199E-4FC1-BFE9-260AC9289BEC}" destId="{429E6F42-71A5-4822-B7AC-EF9BE8857790}" srcOrd="0" destOrd="0" presId="urn:microsoft.com/office/officeart/2005/8/layout/orgChart1"/>
    <dgm:cxn modelId="{2956068B-E666-4356-BACA-965510492EC5}" srcId="{1EDBA414-4513-4658-BE65-B7DBAEB08201}" destId="{01106A15-B5C3-401F-A2AD-6B329F1D4E46}" srcOrd="2" destOrd="0" parTransId="{398F7042-69E8-4F50-8A54-EBDC6CEAF256}" sibTransId="{E0F13676-E5C9-4065-9D58-4C6B6F17A796}"/>
    <dgm:cxn modelId="{E00E2F48-23D7-436C-AEA1-5DA00D07DA41}" type="presOf" srcId="{8009C9A0-BEF2-4F45-A9B0-AC833D7C7D48}" destId="{AC07527A-3442-4E66-B922-718991CA0AC3}" srcOrd="1" destOrd="0" presId="urn:microsoft.com/office/officeart/2005/8/layout/orgChart1"/>
    <dgm:cxn modelId="{14B846B8-6D60-41CB-B7FF-E0ABE03D179E}" type="presOf" srcId="{0260D017-9119-4231-936B-F5073FEB58A1}" destId="{04432766-CA59-4535-A036-E64AB8C8928C}" srcOrd="1" destOrd="0" presId="urn:microsoft.com/office/officeart/2005/8/layout/orgChart1"/>
    <dgm:cxn modelId="{612996D5-241F-43F2-A5B4-3E00BBD25C03}" srcId="{01106A15-B5C3-401F-A2AD-6B329F1D4E46}" destId="{0260D017-9119-4231-936B-F5073FEB58A1}" srcOrd="1" destOrd="0" parTransId="{A63BCD70-2AEE-45A2-B03C-E215B863E0F7}" sibTransId="{C41224FC-E7A8-444C-A523-F61CF01DEE45}"/>
    <dgm:cxn modelId="{BF1ED89E-F8D4-4FFA-9ADA-18B59A30AE03}" type="presOf" srcId="{EB87F310-99C6-451F-88D9-085BE3F1CC22}" destId="{5107EE37-977C-4172-9AFE-92909ABA8ED7}" srcOrd="0" destOrd="0" presId="urn:microsoft.com/office/officeart/2005/8/layout/orgChart1"/>
    <dgm:cxn modelId="{BA08636B-5CCC-440C-ABD5-B55169A643BE}" type="presOf" srcId="{B6BF926F-18B7-451F-B182-E9660B5BC37F}" destId="{F4DF54E5-D8B2-4A3D-8B13-8E3A7CBAFDC4}" srcOrd="0" destOrd="0" presId="urn:microsoft.com/office/officeart/2005/8/layout/orgChart1"/>
    <dgm:cxn modelId="{FB4F9E66-0002-4E6F-8D27-7EAEDB64C0F2}" type="presOf" srcId="{6CCC5378-D74F-471C-BA51-AAABBB897A87}" destId="{5FEF9996-6A79-4E0A-BC96-C2D0975D10F2}" srcOrd="0" destOrd="0" presId="urn:microsoft.com/office/officeart/2005/8/layout/orgChart1"/>
    <dgm:cxn modelId="{B46A540B-028A-4766-A5E9-2713414B7F37}" type="presOf" srcId="{3A60EAB2-F55E-4CB5-83F5-2BE0C197D425}" destId="{8DAA997A-B8EA-4257-A4B2-3CC96AF3018A}" srcOrd="1" destOrd="0" presId="urn:microsoft.com/office/officeart/2005/8/layout/orgChart1"/>
    <dgm:cxn modelId="{8B3B9BFF-843D-443B-B1FC-2150487CF53C}" type="presOf" srcId="{724B850C-CB70-44AD-BD85-E4612A5059A1}" destId="{5403D548-CF74-42F7-9EA0-AEA67917D21F}" srcOrd="0" destOrd="0" presId="urn:microsoft.com/office/officeart/2005/8/layout/orgChart1"/>
    <dgm:cxn modelId="{DE154EB2-FB4A-4747-9E9D-826320E8C6F5}" type="presOf" srcId="{CD555763-BC8B-4ACE-85CF-4AC01ED860D8}" destId="{23B955C0-50B3-406D-95F7-37562251126D}" srcOrd="0" destOrd="0" presId="urn:microsoft.com/office/officeart/2005/8/layout/orgChart1"/>
    <dgm:cxn modelId="{63257126-26DE-4875-8742-4E5ABC62A288}" srcId="{1EDBA414-4513-4658-BE65-B7DBAEB08201}" destId="{724B850C-CB70-44AD-BD85-E4612A5059A1}" srcOrd="0" destOrd="0" parTransId="{89C43FC3-2D04-4B16-88FC-3BAFD3961ECC}" sibTransId="{3FFF3A06-6475-4F80-80D1-878DAD0099B0}"/>
    <dgm:cxn modelId="{744A8F4B-8328-4FBA-A62B-25701E2D6C1C}" type="presOf" srcId="{D1224561-2B71-4A33-BB85-D90D09242BBB}" destId="{9000BEEE-6E9F-4065-AFD5-25E8EE714025}" srcOrd="1" destOrd="0" presId="urn:microsoft.com/office/officeart/2005/8/layout/orgChart1"/>
    <dgm:cxn modelId="{620378C3-6B92-4FDE-9853-5D86DB038C63}" type="presOf" srcId="{08DCE355-D590-4B8E-802C-D1603CC035FA}" destId="{DB403472-1495-4555-A660-69C01159E1DC}" srcOrd="0" destOrd="0" presId="urn:microsoft.com/office/officeart/2005/8/layout/orgChart1"/>
    <dgm:cxn modelId="{8CD304C2-5679-4A3B-B382-0EB6252DD567}" srcId="{724B850C-CB70-44AD-BD85-E4612A5059A1}" destId="{BB76A996-7D36-4BE3-9AE5-E35058E01F08}" srcOrd="2" destOrd="0" parTransId="{73A890BA-0A6F-4B83-9035-AD39F89F67F3}" sibTransId="{E8B82259-4BBA-4314-B806-808488654885}"/>
    <dgm:cxn modelId="{5BFAA1CB-125F-4A5F-8C59-0A5B5BDD6CBA}" type="presOf" srcId="{0D651E1B-9B6A-40C8-87A3-0B21D9431F64}" destId="{F30FA549-CC53-4EC0-9783-9A58112DC4F6}" srcOrd="0" destOrd="0" presId="urn:microsoft.com/office/officeart/2005/8/layout/orgChart1"/>
    <dgm:cxn modelId="{7AC2190B-941D-4DB0-8A6C-DC5915D60879}" srcId="{83D08804-73EE-435F-83C9-FD3E82683334}" destId="{0648A065-FF7C-4A05-9DCC-264FA4D8A98C}" srcOrd="1" destOrd="0" parTransId="{00B55C57-2E12-4BEB-84EB-69AEE031B1C7}" sibTransId="{9B0ECCBE-6817-4FFB-B93B-76FB7AB1D123}"/>
    <dgm:cxn modelId="{D9C7D835-B8DB-4033-80B6-50C0725D060F}" srcId="{83D08804-73EE-435F-83C9-FD3E82683334}" destId="{6E20F264-1CF1-45D8-9057-F2EB155AD4D2}" srcOrd="0" destOrd="0" parTransId="{E5B3377E-3EEF-4C95-9A28-17646C571D69}" sibTransId="{A28FEB74-DE9B-4D4C-8990-EC6A10E6A350}"/>
    <dgm:cxn modelId="{E268B86E-39BB-4050-B7A8-049463030271}" type="presOf" srcId="{3CC5D1DA-0AF9-494F-B9EF-F7F90FFA4C7E}" destId="{EB260ABF-D98F-43C7-9B4D-3E1F72DDECB1}" srcOrd="1" destOrd="0" presId="urn:microsoft.com/office/officeart/2005/8/layout/orgChart1"/>
    <dgm:cxn modelId="{F7C42AE6-24D0-4CB2-B4D2-4503AEFAA0AF}" type="presOf" srcId="{06C02DC4-3F48-4FB9-B7D0-A758A6F4CB7D}" destId="{8301A82B-26FF-4EFA-B0DF-5BFF89D576FB}" srcOrd="0" destOrd="0" presId="urn:microsoft.com/office/officeart/2005/8/layout/orgChart1"/>
    <dgm:cxn modelId="{A9223A5F-6B69-482D-B718-9B769095BE7C}" srcId="{063317E2-27BD-4EB1-AC29-3609E78F61AE}" destId="{E59B3495-37B3-4C6F-A44D-5402BC40E91D}" srcOrd="5" destOrd="0" parTransId="{A19335BB-6F44-45C9-A8E9-53E4D15807C0}" sibTransId="{F7905188-11B9-484F-BD91-63B0051FE10D}"/>
    <dgm:cxn modelId="{5B4281C4-8C3F-4985-B2E0-B5F124335000}" srcId="{063317E2-27BD-4EB1-AC29-3609E78F61AE}" destId="{3B961C88-49F9-4C74-A742-22BC6112AA43}" srcOrd="0" destOrd="0" parTransId="{AC9516F3-3C13-49AA-836A-C15851F5D5D6}" sibTransId="{59E4B709-4F2D-4550-9231-0ED41C780AE2}"/>
    <dgm:cxn modelId="{AD9564C3-9F44-4AA3-92C7-87C0100565A6}" type="presOf" srcId="{FAAEFADD-987A-4F86-AD0D-512489C91ADE}" destId="{7010E9D7-AFDD-4AC5-9833-1C3EE0B0C22B}" srcOrd="0" destOrd="0" presId="urn:microsoft.com/office/officeart/2005/8/layout/orgChart1"/>
    <dgm:cxn modelId="{06E0A484-B88D-41F2-9C7D-C27551AF7863}" type="presOf" srcId="{DDFB15C2-BF16-4383-B43E-7592FE332335}" destId="{A553870E-2E7F-46B5-B678-9D7A0ED4C5D0}" srcOrd="0" destOrd="0" presId="urn:microsoft.com/office/officeart/2005/8/layout/orgChart1"/>
    <dgm:cxn modelId="{0EFB7896-28A0-4981-A288-DC40429694C8}" type="presOf" srcId="{01106A15-B5C3-401F-A2AD-6B329F1D4E46}" destId="{2E435836-9A5B-48B4-A5F9-6D2A4E563C5D}" srcOrd="1" destOrd="0" presId="urn:microsoft.com/office/officeart/2005/8/layout/orgChart1"/>
    <dgm:cxn modelId="{694677BD-3608-4203-8FF1-53074A9DE608}" type="presOf" srcId="{FEB45A86-037C-41E8-9592-DD6A43B633DE}" destId="{0050A19F-6838-409C-9FC1-8A36A5966ECA}" srcOrd="0" destOrd="0" presId="urn:microsoft.com/office/officeart/2005/8/layout/orgChart1"/>
    <dgm:cxn modelId="{B3FE967F-9323-4969-991C-575F315B6A41}" type="presOf" srcId="{E01AB6D9-ECB1-495A-A700-A0CB2C7F0F06}" destId="{13A9DBAE-9F13-43A3-8BC6-93890F6D7FA2}" srcOrd="0" destOrd="0" presId="urn:microsoft.com/office/officeart/2005/8/layout/orgChart1"/>
    <dgm:cxn modelId="{DC09F870-40C9-434B-A0A5-FC34DC344927}" srcId="{162A159F-316C-44C7-94B7-5A9CA71EC76B}" destId="{FEB45A86-037C-41E8-9592-DD6A43B633DE}" srcOrd="3" destOrd="0" parTransId="{4DF5EE0A-16C7-4FED-B3DD-A907904D91A4}" sibTransId="{672C3D16-864B-4475-B25B-4023FF56A3E1}"/>
    <dgm:cxn modelId="{317B30E1-7A1D-411E-BC4C-99BED94A3198}" type="presOf" srcId="{0648A065-FF7C-4A05-9DCC-264FA4D8A98C}" destId="{28FBAB95-635B-4659-A6CC-C094D7526556}" srcOrd="1" destOrd="0" presId="urn:microsoft.com/office/officeart/2005/8/layout/orgChart1"/>
    <dgm:cxn modelId="{86B1F0C7-2A97-413F-A31C-1DEAF1D88847}" type="presOf" srcId="{DB207B05-199E-4FC1-BFE9-260AC9289BEC}" destId="{DC463041-45A6-4401-AFEB-6D11D2B9740E}" srcOrd="1" destOrd="0" presId="urn:microsoft.com/office/officeart/2005/8/layout/orgChart1"/>
    <dgm:cxn modelId="{D8AA1277-B81D-4CEB-9982-65581708355A}" type="presOf" srcId="{F480E6E5-B70D-4802-91BD-FE05849AA170}" destId="{40DCAD75-9E83-40BE-8641-EB33107F7019}" srcOrd="1" destOrd="0" presId="urn:microsoft.com/office/officeart/2005/8/layout/orgChart1"/>
    <dgm:cxn modelId="{D5305124-1E1F-4D2F-8BF9-3E3F967A503A}" type="presOf" srcId="{ED8E86B8-FC95-42F9-A754-7EF09CA76970}" destId="{FAAF661C-C933-4474-8A61-B50BBBC14A7D}" srcOrd="0" destOrd="0" presId="urn:microsoft.com/office/officeart/2005/8/layout/orgChart1"/>
    <dgm:cxn modelId="{ADCD8793-6197-4DC8-92A6-7F0ADE7FBF96}" type="presOf" srcId="{004A1139-A8D8-419E-AD33-019D4A53288B}" destId="{F924925C-F21D-4A89-B5FE-96B7AC8B4EB3}" srcOrd="0" destOrd="0" presId="urn:microsoft.com/office/officeart/2005/8/layout/orgChart1"/>
    <dgm:cxn modelId="{BA61F9EC-0C92-4E58-9BD6-87E7A4263CF8}" type="presOf" srcId="{1632036F-9A7E-40FB-B92C-CC697B53B432}" destId="{7B9450D2-E45A-44CB-BEAD-4AC865E140D0}" srcOrd="0" destOrd="0" presId="urn:microsoft.com/office/officeart/2005/8/layout/orgChart1"/>
    <dgm:cxn modelId="{41314325-4E3D-416A-84E5-D2F8D732570D}" type="presOf" srcId="{EB5ED610-0DBB-4FA8-9FC0-63ED81091EDD}" destId="{47C64183-8A6F-4A65-82C5-ED56FA4B8575}" srcOrd="0" destOrd="0" presId="urn:microsoft.com/office/officeart/2005/8/layout/orgChart1"/>
    <dgm:cxn modelId="{A992BE12-AE43-444C-B77D-D34CFB37FBA7}" srcId="{EB5ED610-0DBB-4FA8-9FC0-63ED81091EDD}" destId="{1EDBA414-4513-4658-BE65-B7DBAEB08201}" srcOrd="0" destOrd="0" parTransId="{87FC5F76-ECDC-4DDD-8902-A8A175ABB7C9}" sibTransId="{39F0F8B9-1619-4DF2-9DCB-2329EE350342}"/>
    <dgm:cxn modelId="{EDAD459F-74D2-42B8-924C-40C9C22869E7}" type="presOf" srcId="{A61703E0-0DC6-4C08-B3D5-4EE38F3BD3DF}" destId="{CD609F84-622D-4BE9-9B7B-FA342E920C5E}" srcOrd="0" destOrd="0" presId="urn:microsoft.com/office/officeart/2005/8/layout/orgChart1"/>
    <dgm:cxn modelId="{905A68AA-F752-4957-BA37-A0631F6D5408}" type="presOf" srcId="{3CC5D1DA-0AF9-494F-B9EF-F7F90FFA4C7E}" destId="{9F04FB61-B8FE-4746-B156-D45F454B2337}" srcOrd="0" destOrd="0" presId="urn:microsoft.com/office/officeart/2005/8/layout/orgChart1"/>
    <dgm:cxn modelId="{524D28B6-E6DD-4F82-99B7-E3F34CBDEFFA}" type="presOf" srcId="{8009C9A0-BEF2-4F45-A9B0-AC833D7C7D48}" destId="{5BEF1219-6836-4938-88FE-8FED429B3586}" srcOrd="0" destOrd="0" presId="urn:microsoft.com/office/officeart/2005/8/layout/orgChart1"/>
    <dgm:cxn modelId="{961E5E7A-0D16-47D3-B6A0-AD2094987A7D}" type="presOf" srcId="{D102250A-8368-4A0F-AB0D-B93DE73D3128}" destId="{5BE4540C-F354-48C0-A104-18C23515ED78}" srcOrd="0" destOrd="0" presId="urn:microsoft.com/office/officeart/2005/8/layout/orgChart1"/>
    <dgm:cxn modelId="{756BBFD8-D8CE-4EE1-A073-15EBF4C54BDA}" type="presOf" srcId="{F8B088BC-07F4-43DD-94E6-4BA2AD31C1BA}" destId="{BDE839AA-0DBF-4B23-959E-DECF9D227CD3}" srcOrd="0" destOrd="0" presId="urn:microsoft.com/office/officeart/2005/8/layout/orgChart1"/>
    <dgm:cxn modelId="{4314FBD8-EA1C-44F3-A21D-D6FB3834E2D9}" srcId="{0EA240B4-38C4-44ED-AAE0-FC26B4195074}" destId="{F480E6E5-B70D-4802-91BD-FE05849AA170}" srcOrd="1" destOrd="0" parTransId="{06C02DC4-3F48-4FB9-B7D0-A758A6F4CB7D}" sibTransId="{ACA303CE-EBC6-4884-99F2-0984FEEC2BDC}"/>
    <dgm:cxn modelId="{565C4229-4117-4EB7-8748-65101E29EC6D}" srcId="{724B850C-CB70-44AD-BD85-E4612A5059A1}" destId="{65E9CE21-23B3-45AE-A4B9-66EF1B0F6D07}" srcOrd="1" destOrd="0" parTransId="{187AE46A-3C30-4F40-90FC-F6D1858E66C2}" sibTransId="{D9CBA3F3-13C8-445C-A108-A63D02FC2FF6}"/>
    <dgm:cxn modelId="{2D7A0EF9-D751-4C8D-B671-D88B3E3EA766}" type="presOf" srcId="{FEB45A86-037C-41E8-9592-DD6A43B633DE}" destId="{69AAE9B4-D376-4D35-8B0D-1D1D2436BE24}" srcOrd="1" destOrd="0" presId="urn:microsoft.com/office/officeart/2005/8/layout/orgChart1"/>
    <dgm:cxn modelId="{41A4B4C0-38CF-4AF3-B1D7-B02868B0A273}" type="presOf" srcId="{56C0A437-954D-44F4-912F-8784204FC4D6}" destId="{41771B42-CB05-4089-937F-EC6B52F62EC3}" srcOrd="1" destOrd="0" presId="urn:microsoft.com/office/officeart/2005/8/layout/orgChart1"/>
    <dgm:cxn modelId="{3FA391A7-661D-44FA-9EA2-396E4F9C55C5}" srcId="{EDC7976F-F414-41E7-8BE0-618D41801E0F}" destId="{51D2767D-A37A-4C96-88A1-E9DB74959CE2}" srcOrd="4" destOrd="0" parTransId="{D102250A-8368-4A0F-AB0D-B93DE73D3128}" sibTransId="{BCA292AD-FE78-456A-8522-744D0E0EEA3F}"/>
    <dgm:cxn modelId="{32E294A8-1C91-466C-AE4E-20003406FE6F}" type="presOf" srcId="{678B5BF5-DE40-4174-8553-7B2436BCD1B0}" destId="{3B8351C2-A0DB-4D65-BC7F-C96C9142DE94}" srcOrd="0" destOrd="0" presId="urn:microsoft.com/office/officeart/2005/8/layout/orgChart1"/>
    <dgm:cxn modelId="{5CFFBA22-6DC6-4C16-94B5-A075B7E2D053}" type="presOf" srcId="{063317E2-27BD-4EB1-AC29-3609E78F61AE}" destId="{CF2582DD-F5D9-4379-B9A2-40A989471469}" srcOrd="0" destOrd="0" presId="urn:microsoft.com/office/officeart/2005/8/layout/orgChart1"/>
    <dgm:cxn modelId="{1DA21D23-5949-474C-838E-C63A2CB8DA96}" srcId="{1EDBA414-4513-4658-BE65-B7DBAEB08201}" destId="{DB207B05-199E-4FC1-BFE9-260AC9289BEC}" srcOrd="6" destOrd="0" parTransId="{004A1139-A8D8-419E-AD33-019D4A53288B}" sibTransId="{32F07B8E-F5D1-465A-B7E2-6C544C3490DC}"/>
    <dgm:cxn modelId="{E7D0D246-4C0E-4CB3-9780-12123C5D240F}" type="presOf" srcId="{724B850C-CB70-44AD-BD85-E4612A5059A1}" destId="{740313E9-E71E-45B0-A902-9045A41E28E5}" srcOrd="1" destOrd="0" presId="urn:microsoft.com/office/officeart/2005/8/layout/orgChart1"/>
    <dgm:cxn modelId="{C6AD3F6D-6846-4010-B7E9-EE021411FBC0}" type="presOf" srcId="{04A48A20-FDBA-49E5-AA1A-FE0BB34F9AD7}" destId="{194478CE-8568-4931-8DFB-B81536ECE4F0}" srcOrd="0" destOrd="0" presId="urn:microsoft.com/office/officeart/2005/8/layout/orgChart1"/>
    <dgm:cxn modelId="{E85AE77F-2A91-4A47-BB03-0C4AADA71190}" srcId="{1EDBA414-4513-4658-BE65-B7DBAEB08201}" destId="{83D08804-73EE-435F-83C9-FD3E82683334}" srcOrd="8" destOrd="0" parTransId="{FD36B6B0-D982-464D-9946-EBA135659477}" sibTransId="{EB4C90FA-A31E-46FA-BAC8-34220526F5A8}"/>
    <dgm:cxn modelId="{17383EF6-244E-46E0-BACC-AB623B0AC35D}" type="presOf" srcId="{D1224561-2B71-4A33-BB85-D90D09242BBB}" destId="{B00093B9-2203-43F2-A035-A931774A0873}" srcOrd="0" destOrd="0" presId="urn:microsoft.com/office/officeart/2005/8/layout/orgChart1"/>
    <dgm:cxn modelId="{F5C53BDC-430E-493B-A3E5-77E34FA89B32}" type="presOf" srcId="{AA7BFDCA-266A-4946-8948-C36670E19CDF}" destId="{5B702B11-CE6D-41B4-9E00-AF6D593397B9}" srcOrd="0" destOrd="0" presId="urn:microsoft.com/office/officeart/2005/8/layout/orgChart1"/>
    <dgm:cxn modelId="{A6FADE69-14AB-481B-A55E-E28D24C592AC}" type="presOf" srcId="{8EDF6A87-EA2F-4D43-9623-B2BC544CDCE5}" destId="{2BF61BE6-465E-496A-AFA2-D1C5D63D0857}" srcOrd="0" destOrd="0" presId="urn:microsoft.com/office/officeart/2005/8/layout/orgChart1"/>
    <dgm:cxn modelId="{F0E8503F-DB73-4D3E-85E1-82489AF6A767}" type="presOf" srcId="{0260D017-9119-4231-936B-F5073FEB58A1}" destId="{83FCF8B8-7875-4E7A-84AB-1FD8588FFDE7}" srcOrd="0" destOrd="0" presId="urn:microsoft.com/office/officeart/2005/8/layout/orgChart1"/>
    <dgm:cxn modelId="{D9FF3A03-0617-46E8-9ADC-4B2FA45A4483}" srcId="{EDC7976F-F414-41E7-8BE0-618D41801E0F}" destId="{AA7BFDCA-266A-4946-8948-C36670E19CDF}" srcOrd="0" destOrd="0" parTransId="{678B5BF5-DE40-4174-8553-7B2436BCD1B0}" sibTransId="{60EFCFE5-E5ED-4FF3-9B26-604F64883CC6}"/>
    <dgm:cxn modelId="{73EA6312-D60A-4667-B8C1-8D9C0003B93C}" type="presOf" srcId="{162A159F-316C-44C7-94B7-5A9CA71EC76B}" destId="{DF978ED3-101A-4A47-A40D-C7CA39F6E736}" srcOrd="0" destOrd="0" presId="urn:microsoft.com/office/officeart/2005/8/layout/orgChart1"/>
    <dgm:cxn modelId="{EC4D1513-1277-40C9-811C-5D7AA5751A0F}" type="presOf" srcId="{398F7042-69E8-4F50-8A54-EBDC6CEAF256}" destId="{64AFCCBF-4420-4361-A911-2BC5570FF50B}" srcOrd="0" destOrd="0" presId="urn:microsoft.com/office/officeart/2005/8/layout/orgChart1"/>
    <dgm:cxn modelId="{D4D59010-D734-4334-B4A2-12789F7A5467}" type="presOf" srcId="{014BB544-7E6C-4818-A772-3DD88A4F5EC0}" destId="{DFE98C5E-085B-45A9-9C1D-06552D02C74A}" srcOrd="0" destOrd="0" presId="urn:microsoft.com/office/officeart/2005/8/layout/orgChart1"/>
    <dgm:cxn modelId="{7DB14713-EE7F-4036-8AAB-6110CB475004}" srcId="{0EA240B4-38C4-44ED-AAE0-FC26B4195074}" destId="{8870271A-E916-4593-88B3-36DC9BFAF10B}" srcOrd="2" destOrd="0" parTransId="{519AC2DA-5622-4884-9875-71D8890034C2}" sibTransId="{4F492BD6-34A0-4A88-8B78-4DACEA3060FC}"/>
    <dgm:cxn modelId="{F18BC001-6B8E-4E79-AC8D-ECF7918C257A}" type="presOf" srcId="{450BB744-1B14-4FC5-B0BB-9D94A1919235}" destId="{AE9744E2-7F66-41E7-ADB4-474A377E159D}" srcOrd="1" destOrd="0" presId="urn:microsoft.com/office/officeart/2005/8/layout/orgChart1"/>
    <dgm:cxn modelId="{7E40A08D-51AA-40ED-8AC2-A4C48E4D1A57}" type="presOf" srcId="{6E20F264-1CF1-45D8-9057-F2EB155AD4D2}" destId="{F7D24A9F-F9BC-461F-AC39-4ED035C1D9F9}" srcOrd="1" destOrd="0" presId="urn:microsoft.com/office/officeart/2005/8/layout/orgChart1"/>
    <dgm:cxn modelId="{4EFB7624-48C1-4E02-9986-34C329CEED2F}" type="presOf" srcId="{1632036F-9A7E-40FB-B92C-CC697B53B432}" destId="{D8193C2D-300E-4953-8000-69B635B9448D}" srcOrd="1" destOrd="0" presId="urn:microsoft.com/office/officeart/2005/8/layout/orgChart1"/>
    <dgm:cxn modelId="{B76FD79A-5E6A-4C05-B029-AC7CB446989C}" type="presOf" srcId="{EB87F310-99C6-451F-88D9-085BE3F1CC22}" destId="{0E34551C-B7E8-4FC7-89E8-3D0F7C9A805A}" srcOrd="1" destOrd="0" presId="urn:microsoft.com/office/officeart/2005/8/layout/orgChart1"/>
    <dgm:cxn modelId="{1B98A7A4-EA29-459D-9109-781F0F94C659}" type="presOf" srcId="{EE6DACCE-6E0D-4B5E-A904-F6535983F9C7}" destId="{24B56603-6DB6-4387-BEC0-335861524DF8}" srcOrd="0" destOrd="0" presId="urn:microsoft.com/office/officeart/2005/8/layout/orgChart1"/>
    <dgm:cxn modelId="{25B74EC5-D87A-4F93-A255-6C7555EE3530}" type="presOf" srcId="{10C0749A-8CEE-41D4-9E07-14DCAA6ADD3C}" destId="{215F6BA8-52A0-41A1-90AB-B0408891BFD2}" srcOrd="0" destOrd="0" presId="urn:microsoft.com/office/officeart/2005/8/layout/orgChart1"/>
    <dgm:cxn modelId="{5FB2BE77-1E47-4287-B246-59C86E814E6B}" type="presOf" srcId="{2A5FBFE2-5313-4FF2-9B48-3F2A80607A6B}" destId="{CD9E3978-72E6-4B4C-99A3-61C52EDBF7DF}" srcOrd="0" destOrd="0" presId="urn:microsoft.com/office/officeart/2005/8/layout/orgChart1"/>
    <dgm:cxn modelId="{44F917A5-93BB-4535-9A26-F25BE4599B9F}" srcId="{0EA240B4-38C4-44ED-AAE0-FC26B4195074}" destId="{450BB744-1B14-4FC5-B0BB-9D94A1919235}" srcOrd="0" destOrd="0" parTransId="{73F4B14B-5D13-414C-8AF2-417624317AA0}" sibTransId="{A557781C-9F9E-409E-93CC-4626C0536E64}"/>
    <dgm:cxn modelId="{23FFC030-E7C2-4D5B-9421-21FB79AC46A6}" type="presOf" srcId="{4DF5EE0A-16C7-4FED-B3DD-A907904D91A4}" destId="{68290E20-987B-4526-9F1B-099EEF87D1A3}" srcOrd="0" destOrd="0" presId="urn:microsoft.com/office/officeart/2005/8/layout/orgChart1"/>
    <dgm:cxn modelId="{78581D8F-7332-4F97-AFCE-8DA30ED696B6}" type="presOf" srcId="{561CE160-6066-41CE-8DC9-CD2071A6369A}" destId="{B4FE364A-D83B-41C2-90D3-BAFD328FF952}" srcOrd="1" destOrd="0" presId="urn:microsoft.com/office/officeart/2005/8/layout/orgChart1"/>
    <dgm:cxn modelId="{90933398-BBD9-4735-9510-FF956945EB1A}" type="presOf" srcId="{EA0B94CF-1B66-4C3A-BFBE-8396F605E9A2}" destId="{1DADBFE7-3D4F-474D-86C2-0072875EA706}" srcOrd="0" destOrd="0" presId="urn:microsoft.com/office/officeart/2005/8/layout/orgChart1"/>
    <dgm:cxn modelId="{3A376626-6FDA-42C3-AB78-073337E271BE}" type="presOf" srcId="{450BB744-1B14-4FC5-B0BB-9D94A1919235}" destId="{CCB409D9-17BE-4D52-8CD5-95171BD939A0}" srcOrd="0" destOrd="0" presId="urn:microsoft.com/office/officeart/2005/8/layout/orgChart1"/>
    <dgm:cxn modelId="{9A84BCCB-6524-4BB1-8ACA-456191F7ED58}" type="presOf" srcId="{A61703E0-0DC6-4C08-B3D5-4EE38F3BD3DF}" destId="{6D999E67-AD03-420F-B3AC-2CE7228F1B37}" srcOrd="1" destOrd="0" presId="urn:microsoft.com/office/officeart/2005/8/layout/orgChart1"/>
    <dgm:cxn modelId="{FF9016AA-4C96-4431-A686-0E210473BEED}" type="presOf" srcId="{1ABF0688-0035-4739-8B9E-151A6960CC41}" destId="{4D1C9ECA-5301-4C71-99E2-AEEFD468990D}" srcOrd="0" destOrd="0" presId="urn:microsoft.com/office/officeart/2005/8/layout/orgChart1"/>
    <dgm:cxn modelId="{57A7D09E-7EE9-4BD9-8D66-5FE9D7EF9D0A}" srcId="{1EDBA414-4513-4658-BE65-B7DBAEB08201}" destId="{063317E2-27BD-4EB1-AC29-3609E78F61AE}" srcOrd="3" destOrd="0" parTransId="{49CCDD51-703A-43A7-89D8-E7978131A522}" sibTransId="{E82CCB4D-1ABF-4FAE-A13B-2CB196EBD79C}"/>
    <dgm:cxn modelId="{2B6E2A2D-AFCD-4554-AF3C-563DFFB4DAEC}" type="presOf" srcId="{51D2767D-A37A-4C96-88A1-E9DB74959CE2}" destId="{BD26533E-4F0B-4BD5-9A3B-3F91CC24B3A9}" srcOrd="1" destOrd="0" presId="urn:microsoft.com/office/officeart/2005/8/layout/orgChart1"/>
    <dgm:cxn modelId="{F5362318-BC75-46E0-89B4-1DF5317F99F4}" type="presOf" srcId="{CD555763-BC8B-4ACE-85CF-4AC01ED860D8}" destId="{953B1FAA-0DD2-44BD-8CAC-65D957D03069}" srcOrd="1" destOrd="0" presId="urn:microsoft.com/office/officeart/2005/8/layout/orgChart1"/>
    <dgm:cxn modelId="{D57E4D77-6077-46A8-BC33-4B23AD38273B}" srcId="{1EDBA414-4513-4658-BE65-B7DBAEB08201}" destId="{CF66BBB3-E722-4F8B-BCA9-CAC23B0F5D61}" srcOrd="4" destOrd="0" parTransId="{10C0749A-8CEE-41D4-9E07-14DCAA6ADD3C}" sibTransId="{3C0C5FB0-DCB5-4C3C-8CAF-14766C6F7A89}"/>
    <dgm:cxn modelId="{892BF5DD-EDFF-4EF4-A8D4-C6C85E8BB347}" srcId="{DB207B05-199E-4FC1-BFE9-260AC9289BEC}" destId="{DDFB15C2-BF16-4383-B43E-7592FE332335}" srcOrd="3" destOrd="0" parTransId="{5B973356-7140-4BC6-8BF7-97065A84EBD5}" sibTransId="{350A6452-9402-4FA1-AC4B-F72CF3D6F667}"/>
    <dgm:cxn modelId="{CAD942CC-774B-43F4-8E8E-14C17BA97732}" srcId="{1EDBA414-4513-4658-BE65-B7DBAEB08201}" destId="{162A159F-316C-44C7-94B7-5A9CA71EC76B}" srcOrd="7" destOrd="0" parTransId="{37C2EDC9-7AA7-40B3-939F-B7B1E9FDCCE7}" sibTransId="{2E23D031-B615-4A8E-AFBA-A961F6547686}"/>
    <dgm:cxn modelId="{A5ADF9C7-AE8E-46CE-8A76-EE3550EEDED0}" type="presOf" srcId="{8CC0FFD0-E578-43E0-8B9E-D611EA5E45FF}" destId="{CB7DB2EC-2962-4694-833B-7195FBA3B24C}" srcOrd="0" destOrd="0" presId="urn:microsoft.com/office/officeart/2005/8/layout/orgChart1"/>
    <dgm:cxn modelId="{038F22AA-7BE5-4727-B172-B1BB627F404A}" type="presOf" srcId="{AC9516F3-3C13-49AA-836A-C15851F5D5D6}" destId="{FE8095FC-880D-485B-853A-8198A318E617}" srcOrd="0" destOrd="0" presId="urn:microsoft.com/office/officeart/2005/8/layout/orgChart1"/>
    <dgm:cxn modelId="{B37ABC48-51B8-4E75-AD20-F4971DE8C1EE}" type="presOf" srcId="{E700FACC-6271-47F6-A730-FF7B5C1A358B}" destId="{13CFDBFC-795A-4F2D-B7B4-3E4BD126626F}" srcOrd="0" destOrd="0" presId="urn:microsoft.com/office/officeart/2005/8/layout/orgChart1"/>
    <dgm:cxn modelId="{BF859A47-2E75-44F2-89D9-4364A785784F}" type="presOf" srcId="{ED8E86B8-FC95-42F9-A754-7EF09CA76970}" destId="{0545BE9E-0F31-4A45-A85F-96B2C1BFEE61}" srcOrd="1" destOrd="0" presId="urn:microsoft.com/office/officeart/2005/8/layout/orgChart1"/>
    <dgm:cxn modelId="{D9D17228-92E9-4251-B3A7-BE2449D95CF5}" type="presOf" srcId="{56C0A437-954D-44F4-912F-8784204FC4D6}" destId="{A8248B19-B15E-4BFE-A834-5D85D43FF535}" srcOrd="0" destOrd="0" presId="urn:microsoft.com/office/officeart/2005/8/layout/orgChart1"/>
    <dgm:cxn modelId="{5017593B-787B-4B96-B63B-E63FFD0BBB4E}" srcId="{162A159F-316C-44C7-94B7-5A9CA71EC76B}" destId="{561CE160-6066-41CE-8DC9-CD2071A6369A}" srcOrd="1" destOrd="0" parTransId="{842D5979-06D0-4138-82C4-C1B80A339224}" sibTransId="{21BD719B-61C0-4A65-9EC7-F67C37CF4DED}"/>
    <dgm:cxn modelId="{2158A96A-7C89-4A29-98B5-1A18F5394A44}" type="presOf" srcId="{EDC7976F-F414-41E7-8BE0-618D41801E0F}" destId="{728B2D34-DD20-4722-965A-560BA7BB1884}" srcOrd="1" destOrd="0" presId="urn:microsoft.com/office/officeart/2005/8/layout/orgChart1"/>
    <dgm:cxn modelId="{457708C6-6A58-48E2-A814-C2C80D8F6FB2}" type="presOf" srcId="{5B973356-7140-4BC6-8BF7-97065A84EBD5}" destId="{A4369D11-075C-4A5F-BA46-A618892793FD}" srcOrd="0" destOrd="0" presId="urn:microsoft.com/office/officeart/2005/8/layout/orgChart1"/>
    <dgm:cxn modelId="{37AB30F8-EFBF-4643-AF68-8F5455449FAA}" type="presOf" srcId="{CF66BBB3-E722-4F8B-BCA9-CAC23B0F5D61}" destId="{551BD782-F811-43C5-B9C2-75B12A087AF2}" srcOrd="1" destOrd="0" presId="urn:microsoft.com/office/officeart/2005/8/layout/orgChart1"/>
    <dgm:cxn modelId="{9AFC02AD-3A4D-4445-B457-DC1F39494401}" type="presOf" srcId="{783E5226-3A92-4D2B-A180-6A3A43CD9D0A}" destId="{E21425BE-0FB9-44F2-8D95-C2B2050065B5}" srcOrd="1" destOrd="0" presId="urn:microsoft.com/office/officeart/2005/8/layout/orgChart1"/>
    <dgm:cxn modelId="{00B0F63F-2E53-4E3A-B6CD-0AE1DFD9ADBB}" type="presOf" srcId="{F480E6E5-B70D-4802-91BD-FE05849AA170}" destId="{164840EF-D075-49BA-80AC-1E6B1E9AA7D1}" srcOrd="0" destOrd="0" presId="urn:microsoft.com/office/officeart/2005/8/layout/orgChart1"/>
    <dgm:cxn modelId="{D2636468-2D5C-4135-911B-81475D6898C2}" srcId="{063317E2-27BD-4EB1-AC29-3609E78F61AE}" destId="{3A60EAB2-F55E-4CB5-83F5-2BE0C197D425}" srcOrd="1" destOrd="0" parTransId="{4BECC003-82E9-4C9D-9AE4-CEFB628D5422}" sibTransId="{D5478B97-4728-4B69-857D-1ED58A3B632F}"/>
    <dgm:cxn modelId="{5614F697-2D5D-4847-AE8D-BED5E473FDBA}" type="presOf" srcId="{65E9CE21-23B3-45AE-A4B9-66EF1B0F6D07}" destId="{42923A24-9FF0-47DA-A9BD-3E1050CAF217}" srcOrd="0" destOrd="0" presId="urn:microsoft.com/office/officeart/2005/8/layout/orgChart1"/>
    <dgm:cxn modelId="{6AA56B9D-2865-4027-A58B-6E1DD7CC85B6}" srcId="{CF66BBB3-E722-4F8B-BCA9-CAC23B0F5D61}" destId="{B6BF926F-18B7-451F-B182-E9660B5BC37F}" srcOrd="2" destOrd="0" parTransId="{2A5FBFE2-5313-4FF2-9B48-3F2A80607A6B}" sibTransId="{800E5D08-F1EF-4F25-8876-456D9DFC5895}"/>
    <dgm:cxn modelId="{7527905D-1354-4F0F-BD3B-E72CE24957BD}" type="presOf" srcId="{1EDBA414-4513-4658-BE65-B7DBAEB08201}" destId="{C5E765D9-302B-41FA-8B02-A3200280D571}" srcOrd="0" destOrd="0" presId="urn:microsoft.com/office/officeart/2005/8/layout/orgChart1"/>
    <dgm:cxn modelId="{F5D02C5B-7554-404C-864C-1E9390AA74FE}" type="presOf" srcId="{6E20F264-1CF1-45D8-9057-F2EB155AD4D2}" destId="{2D1B589F-B938-440D-940F-63177CA73599}" srcOrd="0" destOrd="0" presId="urn:microsoft.com/office/officeart/2005/8/layout/orgChart1"/>
    <dgm:cxn modelId="{2F8A4E44-2BED-46FB-8883-F254E8AD5834}" type="presOf" srcId="{923E3BE6-5FCC-4FF7-9DF9-1C9C410C4E08}" destId="{DE7A3181-64B1-4594-BFFD-BEBFAF8F6045}" srcOrd="0" destOrd="0" presId="urn:microsoft.com/office/officeart/2005/8/layout/orgChart1"/>
    <dgm:cxn modelId="{AECEF0EB-8376-4B85-B87A-A74C47951578}" type="presOf" srcId="{37C2EDC9-7AA7-40B3-939F-B7B1E9FDCCE7}" destId="{37C267AB-0C11-4559-BF41-E94E8C6276C9}" srcOrd="0" destOrd="0" presId="urn:microsoft.com/office/officeart/2005/8/layout/orgChart1"/>
    <dgm:cxn modelId="{CD2A1BBE-431D-4CD6-93D0-6F8D166A8FB2}" srcId="{EDC7976F-F414-41E7-8BE0-618D41801E0F}" destId="{3CC5D1DA-0AF9-494F-B9EF-F7F90FFA4C7E}" srcOrd="2" destOrd="0" parTransId="{EA0B94CF-1B66-4C3A-BFBE-8396F605E9A2}" sibTransId="{2F84CAAD-6410-48A6-81F0-30223279C3FF}"/>
    <dgm:cxn modelId="{6BDD7238-6D66-4D5C-97C0-64F74A4AE202}" srcId="{DB207B05-199E-4FC1-BFE9-260AC9289BEC}" destId="{1632036F-9A7E-40FB-B92C-CC697B53B432}" srcOrd="2" destOrd="0" parTransId="{04A48A20-FDBA-49E5-AA1A-FE0BB34F9AD7}" sibTransId="{A3725B3B-DB03-434F-A03E-D68B339838EF}"/>
    <dgm:cxn modelId="{D3A32EE6-31CF-4E7F-BF26-1D49ED338424}" type="presOf" srcId="{057BB54A-B147-4D1B-96F4-0A8032ABFE16}" destId="{0B91454A-E479-49D2-BC2C-87F01C98A48F}" srcOrd="1" destOrd="0" presId="urn:microsoft.com/office/officeart/2005/8/layout/orgChart1"/>
    <dgm:cxn modelId="{66C1E90F-8DA3-4E7C-A817-66D657A5BAD4}" type="presOf" srcId="{FF9A1D1F-B679-4035-8988-EC9272FA5847}" destId="{B93231A2-9AC7-40CB-960A-1F0A9D68B86C}" srcOrd="0" destOrd="0" presId="urn:microsoft.com/office/officeart/2005/8/layout/orgChart1"/>
    <dgm:cxn modelId="{18FCAF1C-83C7-44B4-9C2E-5573D7136635}" type="presOf" srcId="{21FD61D4-A81F-4FDF-8C0E-B97FE3C813D3}" destId="{B7C81105-A218-4400-97D1-D39E0A33511D}" srcOrd="0" destOrd="0" presId="urn:microsoft.com/office/officeart/2005/8/layout/orgChart1"/>
    <dgm:cxn modelId="{5C8F9EC3-B052-4655-9DDF-ED8F53C7EACD}" type="presOf" srcId="{CF66BBB3-E722-4F8B-BCA9-CAC23B0F5D61}" destId="{337890B3-6AE4-40D0-956C-DFFC21855FBD}" srcOrd="0" destOrd="0" presId="urn:microsoft.com/office/officeart/2005/8/layout/orgChart1"/>
    <dgm:cxn modelId="{E8EAA90F-B589-4B90-844F-B29351DA9D5C}" srcId="{DB207B05-199E-4FC1-BFE9-260AC9289BEC}" destId="{FF9A1D1F-B679-4035-8988-EC9272FA5847}" srcOrd="0" destOrd="0" parTransId="{08DCE355-D590-4B8E-802C-D1603CC035FA}" sibTransId="{0EA39366-B7C8-4F34-8150-2B06222999AE}"/>
    <dgm:cxn modelId="{EF50B738-7051-46A2-98DF-9FD38945C10C}" type="presParOf" srcId="{47C64183-8A6F-4A65-82C5-ED56FA4B8575}" destId="{769C6205-7306-4D24-AB83-1234E08B377F}" srcOrd="0" destOrd="0" presId="urn:microsoft.com/office/officeart/2005/8/layout/orgChart1"/>
    <dgm:cxn modelId="{9F064F8B-ECA2-49C7-A30A-FB08487E3751}" type="presParOf" srcId="{769C6205-7306-4D24-AB83-1234E08B377F}" destId="{768CB81E-A711-4B0B-BBA0-77EFF5086C52}" srcOrd="0" destOrd="0" presId="urn:microsoft.com/office/officeart/2005/8/layout/orgChart1"/>
    <dgm:cxn modelId="{71198866-E56E-40F1-A7E9-1AF1467FBB1E}" type="presParOf" srcId="{768CB81E-A711-4B0B-BBA0-77EFF5086C52}" destId="{C5E765D9-302B-41FA-8B02-A3200280D571}" srcOrd="0" destOrd="0" presId="urn:microsoft.com/office/officeart/2005/8/layout/orgChart1"/>
    <dgm:cxn modelId="{CA0F66A1-9A1C-4731-B8AA-929E27600CF4}" type="presParOf" srcId="{768CB81E-A711-4B0B-BBA0-77EFF5086C52}" destId="{B7A99655-78EF-427C-9357-3FC7084E15A4}" srcOrd="1" destOrd="0" presId="urn:microsoft.com/office/officeart/2005/8/layout/orgChart1"/>
    <dgm:cxn modelId="{2A14806A-709A-4C52-B2CB-60FB509DACA8}" type="presParOf" srcId="{769C6205-7306-4D24-AB83-1234E08B377F}" destId="{6BB7AC20-16C3-4C8E-A6A2-EEEE51C8E16A}" srcOrd="1" destOrd="0" presId="urn:microsoft.com/office/officeart/2005/8/layout/orgChart1"/>
    <dgm:cxn modelId="{BA8296E6-BA06-4FC6-9A3C-0C90DB6D0AF7}" type="presParOf" srcId="{6BB7AC20-16C3-4C8E-A6A2-EEEE51C8E16A}" destId="{39F3AD5A-A39F-4DEA-8AE0-F10C1E466C92}" srcOrd="0" destOrd="0" presId="urn:microsoft.com/office/officeart/2005/8/layout/orgChart1"/>
    <dgm:cxn modelId="{22386FD9-19FD-47D7-8E54-B1E973DAA55C}" type="presParOf" srcId="{6BB7AC20-16C3-4C8E-A6A2-EEEE51C8E16A}" destId="{C5E5DFA1-8F7A-492E-B947-C9F4B5036C5A}" srcOrd="1" destOrd="0" presId="urn:microsoft.com/office/officeart/2005/8/layout/orgChart1"/>
    <dgm:cxn modelId="{570BA30E-7C44-4CEF-A4E5-C501DFFE3997}" type="presParOf" srcId="{C5E5DFA1-8F7A-492E-B947-C9F4B5036C5A}" destId="{B9BD1C76-F9A7-44D8-B7D3-F1176922533E}" srcOrd="0" destOrd="0" presId="urn:microsoft.com/office/officeart/2005/8/layout/orgChart1"/>
    <dgm:cxn modelId="{2060781C-068C-49B2-865A-F708D2BE27D8}" type="presParOf" srcId="{B9BD1C76-F9A7-44D8-B7D3-F1176922533E}" destId="{5403D548-CF74-42F7-9EA0-AEA67917D21F}" srcOrd="0" destOrd="0" presId="urn:microsoft.com/office/officeart/2005/8/layout/orgChart1"/>
    <dgm:cxn modelId="{75906B02-EAAC-480F-B593-10F27F8DC777}" type="presParOf" srcId="{B9BD1C76-F9A7-44D8-B7D3-F1176922533E}" destId="{740313E9-E71E-45B0-A902-9045A41E28E5}" srcOrd="1" destOrd="0" presId="urn:microsoft.com/office/officeart/2005/8/layout/orgChart1"/>
    <dgm:cxn modelId="{85732404-6645-4A6C-9E47-F2413BF0CBEE}" type="presParOf" srcId="{C5E5DFA1-8F7A-492E-B947-C9F4B5036C5A}" destId="{C91F8A0C-CB73-48CB-A58A-342FA5B04051}" srcOrd="1" destOrd="0" presId="urn:microsoft.com/office/officeart/2005/8/layout/orgChart1"/>
    <dgm:cxn modelId="{20EDCF9F-70B0-46CE-BB75-5DBC0292A994}" type="presParOf" srcId="{C91F8A0C-CB73-48CB-A58A-342FA5B04051}" destId="{2BF61BE6-465E-496A-AFA2-D1C5D63D0857}" srcOrd="0" destOrd="0" presId="urn:microsoft.com/office/officeart/2005/8/layout/orgChart1"/>
    <dgm:cxn modelId="{A37BA528-D04F-4368-8328-EA2ED02442CD}" type="presParOf" srcId="{C91F8A0C-CB73-48CB-A58A-342FA5B04051}" destId="{9AAF2C32-51A7-4539-BF49-9D132A17FF38}" srcOrd="1" destOrd="0" presId="urn:microsoft.com/office/officeart/2005/8/layout/orgChart1"/>
    <dgm:cxn modelId="{FE8EDB32-D488-46CF-BEDF-4080C27A0F48}" type="presParOf" srcId="{9AAF2C32-51A7-4539-BF49-9D132A17FF38}" destId="{68A42209-2F45-4560-8D18-9B5F34415DEE}" srcOrd="0" destOrd="0" presId="urn:microsoft.com/office/officeart/2005/8/layout/orgChart1"/>
    <dgm:cxn modelId="{FEBDA02B-A1A5-46E8-9866-F9356838C4CC}" type="presParOf" srcId="{68A42209-2F45-4560-8D18-9B5F34415DEE}" destId="{A8248B19-B15E-4BFE-A834-5D85D43FF535}" srcOrd="0" destOrd="0" presId="urn:microsoft.com/office/officeart/2005/8/layout/orgChart1"/>
    <dgm:cxn modelId="{73A01F24-2FBD-4F47-8814-57FC84A7371B}" type="presParOf" srcId="{68A42209-2F45-4560-8D18-9B5F34415DEE}" destId="{41771B42-CB05-4089-937F-EC6B52F62EC3}" srcOrd="1" destOrd="0" presId="urn:microsoft.com/office/officeart/2005/8/layout/orgChart1"/>
    <dgm:cxn modelId="{9C857485-82D0-45F9-B910-D3027DB5F1C3}" type="presParOf" srcId="{9AAF2C32-51A7-4539-BF49-9D132A17FF38}" destId="{3E21C6FC-5984-4A9E-8A0D-9D6E57F59647}" srcOrd="1" destOrd="0" presId="urn:microsoft.com/office/officeart/2005/8/layout/orgChart1"/>
    <dgm:cxn modelId="{DCCC48B3-8CBB-448B-95DE-76E06048EC55}" type="presParOf" srcId="{9AAF2C32-51A7-4539-BF49-9D132A17FF38}" destId="{C884255F-0DFB-4FF3-ABFF-9FF33BB31A73}" srcOrd="2" destOrd="0" presId="urn:microsoft.com/office/officeart/2005/8/layout/orgChart1"/>
    <dgm:cxn modelId="{79789928-5B6A-4964-A177-643F62ECF80F}" type="presParOf" srcId="{C91F8A0C-CB73-48CB-A58A-342FA5B04051}" destId="{AD845BBC-16D5-46BB-9684-35EE829008A0}" srcOrd="2" destOrd="0" presId="urn:microsoft.com/office/officeart/2005/8/layout/orgChart1"/>
    <dgm:cxn modelId="{0A6C8EEF-121F-4EE2-A9AF-FB219A1242C5}" type="presParOf" srcId="{C91F8A0C-CB73-48CB-A58A-342FA5B04051}" destId="{3365F889-F1A1-480F-B014-8905EEB14463}" srcOrd="3" destOrd="0" presId="urn:microsoft.com/office/officeart/2005/8/layout/orgChart1"/>
    <dgm:cxn modelId="{37201B72-A8E4-4804-BFFA-49F4D755827A}" type="presParOf" srcId="{3365F889-F1A1-480F-B014-8905EEB14463}" destId="{619592AF-721D-40CC-96BF-9D51E64615AE}" srcOrd="0" destOrd="0" presId="urn:microsoft.com/office/officeart/2005/8/layout/orgChart1"/>
    <dgm:cxn modelId="{0B044A00-2185-46EA-B572-B856CCA0F463}" type="presParOf" srcId="{619592AF-721D-40CC-96BF-9D51E64615AE}" destId="{42923A24-9FF0-47DA-A9BD-3E1050CAF217}" srcOrd="0" destOrd="0" presId="urn:microsoft.com/office/officeart/2005/8/layout/orgChart1"/>
    <dgm:cxn modelId="{6DE89D26-CFD1-4C98-AB76-537145ED9240}" type="presParOf" srcId="{619592AF-721D-40CC-96BF-9D51E64615AE}" destId="{D138691D-C139-4868-A6AD-7EDD3DFB9FAE}" srcOrd="1" destOrd="0" presId="urn:microsoft.com/office/officeart/2005/8/layout/orgChart1"/>
    <dgm:cxn modelId="{44A19D35-842A-46C6-AEF3-96651C39BEAC}" type="presParOf" srcId="{3365F889-F1A1-480F-B014-8905EEB14463}" destId="{44C0FC10-0612-4855-88E5-D025A1907B18}" srcOrd="1" destOrd="0" presId="urn:microsoft.com/office/officeart/2005/8/layout/orgChart1"/>
    <dgm:cxn modelId="{CC5DD33B-687D-4F65-A717-C7ACE95BF5E5}" type="presParOf" srcId="{3365F889-F1A1-480F-B014-8905EEB14463}" destId="{51656CDE-4FF5-4032-9B8F-CC2D4234F049}" srcOrd="2" destOrd="0" presId="urn:microsoft.com/office/officeart/2005/8/layout/orgChart1"/>
    <dgm:cxn modelId="{98D56026-B7AA-4A0F-9AF1-34BF7D1F428C}" type="presParOf" srcId="{C91F8A0C-CB73-48CB-A58A-342FA5B04051}" destId="{B2FA10BA-1EBA-4689-B3D4-3583D5657FB3}" srcOrd="4" destOrd="0" presId="urn:microsoft.com/office/officeart/2005/8/layout/orgChart1"/>
    <dgm:cxn modelId="{DDE89FAB-D5FE-4B01-B869-57FE5B3F4CB9}" type="presParOf" srcId="{C91F8A0C-CB73-48CB-A58A-342FA5B04051}" destId="{CAB97E10-D969-41C4-A6F2-9AED5C50BC56}" srcOrd="5" destOrd="0" presId="urn:microsoft.com/office/officeart/2005/8/layout/orgChart1"/>
    <dgm:cxn modelId="{4E37C44F-383C-4D68-8C0A-49276B04E0A0}" type="presParOf" srcId="{CAB97E10-D969-41C4-A6F2-9AED5C50BC56}" destId="{04C64DF2-6C79-40DF-AC4A-175D074FA07B}" srcOrd="0" destOrd="0" presId="urn:microsoft.com/office/officeart/2005/8/layout/orgChart1"/>
    <dgm:cxn modelId="{FC9A8558-B60B-40E4-A8DF-F17FA3E679D2}" type="presParOf" srcId="{04C64DF2-6C79-40DF-AC4A-175D074FA07B}" destId="{29B8DF57-DCEC-467D-B181-AAF34BB64A04}" srcOrd="0" destOrd="0" presId="urn:microsoft.com/office/officeart/2005/8/layout/orgChart1"/>
    <dgm:cxn modelId="{8D32F764-69E2-4CA7-BA14-B17A2C02A3ED}" type="presParOf" srcId="{04C64DF2-6C79-40DF-AC4A-175D074FA07B}" destId="{347408BE-D6CA-4FD5-9344-550415A1E983}" srcOrd="1" destOrd="0" presId="urn:microsoft.com/office/officeart/2005/8/layout/orgChart1"/>
    <dgm:cxn modelId="{5D8EBE21-21EC-4F2D-A27A-BDD1378E507E}" type="presParOf" srcId="{CAB97E10-D969-41C4-A6F2-9AED5C50BC56}" destId="{CEFEDE2A-BB10-42E0-B84A-63119AA3C85F}" srcOrd="1" destOrd="0" presId="urn:microsoft.com/office/officeart/2005/8/layout/orgChart1"/>
    <dgm:cxn modelId="{D062156E-AD0E-4703-8A4B-CAA26441634C}" type="presParOf" srcId="{CAB97E10-D969-41C4-A6F2-9AED5C50BC56}" destId="{6CAA2C84-0A95-44EB-81FB-F740E7B82470}" srcOrd="2" destOrd="0" presId="urn:microsoft.com/office/officeart/2005/8/layout/orgChart1"/>
    <dgm:cxn modelId="{E5948869-9DAF-4058-852A-06DE53DCA3C0}" type="presParOf" srcId="{C5E5DFA1-8F7A-492E-B947-C9F4B5036C5A}" destId="{A8BAF255-65F6-41DD-8ED5-CDA0179F5BCC}" srcOrd="2" destOrd="0" presId="urn:microsoft.com/office/officeart/2005/8/layout/orgChart1"/>
    <dgm:cxn modelId="{2E37DF8C-7D75-4EFA-9F41-CF5A184C82AE}" type="presParOf" srcId="{6BB7AC20-16C3-4C8E-A6A2-EEEE51C8E16A}" destId="{0CC4A12D-7906-4D57-8BB1-A160846422CA}" srcOrd="2" destOrd="0" presId="urn:microsoft.com/office/officeart/2005/8/layout/orgChart1"/>
    <dgm:cxn modelId="{FAFAEA92-3413-4659-B378-C1A5794143A1}" type="presParOf" srcId="{6BB7AC20-16C3-4C8E-A6A2-EEEE51C8E16A}" destId="{25F187E5-C7B6-4F70-BF75-E1FF4FC8898D}" srcOrd="3" destOrd="0" presId="urn:microsoft.com/office/officeart/2005/8/layout/orgChart1"/>
    <dgm:cxn modelId="{35DA8DFB-6257-49E3-B1E2-A485D429C66A}" type="presParOf" srcId="{25F187E5-C7B6-4F70-BF75-E1FF4FC8898D}" destId="{60050952-0234-43CB-913F-598C894352E2}" srcOrd="0" destOrd="0" presId="urn:microsoft.com/office/officeart/2005/8/layout/orgChart1"/>
    <dgm:cxn modelId="{E59E3121-8190-416B-94E6-1E9F63D68A2E}" type="presParOf" srcId="{60050952-0234-43CB-913F-598C894352E2}" destId="{8568E507-BC71-4AA2-AE1B-C7136731764A}" srcOrd="0" destOrd="0" presId="urn:microsoft.com/office/officeart/2005/8/layout/orgChart1"/>
    <dgm:cxn modelId="{70921640-1885-44A8-9779-07F4FAFB5268}" type="presParOf" srcId="{60050952-0234-43CB-913F-598C894352E2}" destId="{728B2D34-DD20-4722-965A-560BA7BB1884}" srcOrd="1" destOrd="0" presId="urn:microsoft.com/office/officeart/2005/8/layout/orgChart1"/>
    <dgm:cxn modelId="{BC7E825B-1DD7-4BD6-9FB7-D7BCA29B98D2}" type="presParOf" srcId="{25F187E5-C7B6-4F70-BF75-E1FF4FC8898D}" destId="{7271CBCA-A164-4620-9E3E-73EDB349168C}" srcOrd="1" destOrd="0" presId="urn:microsoft.com/office/officeart/2005/8/layout/orgChart1"/>
    <dgm:cxn modelId="{2892D779-D0C5-440A-8A73-CB964D640931}" type="presParOf" srcId="{7271CBCA-A164-4620-9E3E-73EDB349168C}" destId="{3B8351C2-A0DB-4D65-BC7F-C96C9142DE94}" srcOrd="0" destOrd="0" presId="urn:microsoft.com/office/officeart/2005/8/layout/orgChart1"/>
    <dgm:cxn modelId="{0B754935-7F07-4F74-A6BD-2DA213592D34}" type="presParOf" srcId="{7271CBCA-A164-4620-9E3E-73EDB349168C}" destId="{2577D067-2973-4A97-B4B7-892EDABB665C}" srcOrd="1" destOrd="0" presId="urn:microsoft.com/office/officeart/2005/8/layout/orgChart1"/>
    <dgm:cxn modelId="{F1E8A64C-3257-4E19-8890-1ED20438BCC0}" type="presParOf" srcId="{2577D067-2973-4A97-B4B7-892EDABB665C}" destId="{7E76F3A3-F883-48DC-B601-D326E8132B0B}" srcOrd="0" destOrd="0" presId="urn:microsoft.com/office/officeart/2005/8/layout/orgChart1"/>
    <dgm:cxn modelId="{3261E6DC-4D4B-4A21-8737-E125B613E08F}" type="presParOf" srcId="{7E76F3A3-F883-48DC-B601-D326E8132B0B}" destId="{5B702B11-CE6D-41B4-9E00-AF6D593397B9}" srcOrd="0" destOrd="0" presId="urn:microsoft.com/office/officeart/2005/8/layout/orgChart1"/>
    <dgm:cxn modelId="{5F29F5F6-55D9-4742-B5EF-0D1D0E4297C7}" type="presParOf" srcId="{7E76F3A3-F883-48DC-B601-D326E8132B0B}" destId="{3058FDBD-24F4-4781-B6ED-3EA1E9FBDFE9}" srcOrd="1" destOrd="0" presId="urn:microsoft.com/office/officeart/2005/8/layout/orgChart1"/>
    <dgm:cxn modelId="{95D748AD-2012-4886-AD93-5B449CDE34FB}" type="presParOf" srcId="{2577D067-2973-4A97-B4B7-892EDABB665C}" destId="{B0F9F613-917E-4DD9-9F8A-1A8788C224EB}" srcOrd="1" destOrd="0" presId="urn:microsoft.com/office/officeart/2005/8/layout/orgChart1"/>
    <dgm:cxn modelId="{6F524E10-4BEA-43E6-BB24-E2B3B014E149}" type="presParOf" srcId="{2577D067-2973-4A97-B4B7-892EDABB665C}" destId="{8F1A3511-C91A-4AE8-98AB-25B1CA0C219F}" srcOrd="2" destOrd="0" presId="urn:microsoft.com/office/officeart/2005/8/layout/orgChart1"/>
    <dgm:cxn modelId="{CE1241F9-B970-43A5-B0D7-75BCBE4604F5}" type="presParOf" srcId="{7271CBCA-A164-4620-9E3E-73EDB349168C}" destId="{5FEF9996-6A79-4E0A-BC96-C2D0975D10F2}" srcOrd="2" destOrd="0" presId="urn:microsoft.com/office/officeart/2005/8/layout/orgChart1"/>
    <dgm:cxn modelId="{B6E5CE23-13F6-4420-8151-65E4B3E42B6C}" type="presParOf" srcId="{7271CBCA-A164-4620-9E3E-73EDB349168C}" destId="{7073BC30-E22D-4B44-B0EE-EB04E68774BF}" srcOrd="3" destOrd="0" presId="urn:microsoft.com/office/officeart/2005/8/layout/orgChart1"/>
    <dgm:cxn modelId="{A0D291E8-E0AA-4E91-BE13-3E9B5ABB9C6B}" type="presParOf" srcId="{7073BC30-E22D-4B44-B0EE-EB04E68774BF}" destId="{84E24D3F-D8A9-470C-ACA4-80CF753EB668}" srcOrd="0" destOrd="0" presId="urn:microsoft.com/office/officeart/2005/8/layout/orgChart1"/>
    <dgm:cxn modelId="{48ECE63B-3068-4FC0-828B-9ABA3BC2AB39}" type="presParOf" srcId="{84E24D3F-D8A9-470C-ACA4-80CF753EB668}" destId="{27DE2BBC-84A6-4853-A483-29AAFE979871}" srcOrd="0" destOrd="0" presId="urn:microsoft.com/office/officeart/2005/8/layout/orgChart1"/>
    <dgm:cxn modelId="{CBC79910-40EA-461A-A046-9A79A0884C16}" type="presParOf" srcId="{84E24D3F-D8A9-470C-ACA4-80CF753EB668}" destId="{0B91454A-E479-49D2-BC2C-87F01C98A48F}" srcOrd="1" destOrd="0" presId="urn:microsoft.com/office/officeart/2005/8/layout/orgChart1"/>
    <dgm:cxn modelId="{DC6A219F-5DDE-4FFA-82C2-DDDCD7386AC9}" type="presParOf" srcId="{7073BC30-E22D-4B44-B0EE-EB04E68774BF}" destId="{1553E8B1-38F9-4AA9-B46A-3495BCA0D46B}" srcOrd="1" destOrd="0" presId="urn:microsoft.com/office/officeart/2005/8/layout/orgChart1"/>
    <dgm:cxn modelId="{F777A5B7-FD69-4532-83B7-F12F6DDFFEEC}" type="presParOf" srcId="{7073BC30-E22D-4B44-B0EE-EB04E68774BF}" destId="{B54BAD8F-E846-4A25-99B6-2ACBD514F544}" srcOrd="2" destOrd="0" presId="urn:microsoft.com/office/officeart/2005/8/layout/orgChart1"/>
    <dgm:cxn modelId="{0043C274-A31F-4695-A5AB-BA8ECC01A52C}" type="presParOf" srcId="{7271CBCA-A164-4620-9E3E-73EDB349168C}" destId="{1DADBFE7-3D4F-474D-86C2-0072875EA706}" srcOrd="4" destOrd="0" presId="urn:microsoft.com/office/officeart/2005/8/layout/orgChart1"/>
    <dgm:cxn modelId="{18870B31-4EDB-4781-BCED-F03D495AE3B2}" type="presParOf" srcId="{7271CBCA-A164-4620-9E3E-73EDB349168C}" destId="{EA0B127D-17E7-4F85-B4A3-0C70C06566B6}" srcOrd="5" destOrd="0" presId="urn:microsoft.com/office/officeart/2005/8/layout/orgChart1"/>
    <dgm:cxn modelId="{EC11119D-4847-4943-901F-F727894CD7DD}" type="presParOf" srcId="{EA0B127D-17E7-4F85-B4A3-0C70C06566B6}" destId="{28F24310-8939-48F8-AC8C-77AC4D9EA7D4}" srcOrd="0" destOrd="0" presId="urn:microsoft.com/office/officeart/2005/8/layout/orgChart1"/>
    <dgm:cxn modelId="{082B9896-7AF0-4104-A500-A22BF241A5C7}" type="presParOf" srcId="{28F24310-8939-48F8-AC8C-77AC4D9EA7D4}" destId="{9F04FB61-B8FE-4746-B156-D45F454B2337}" srcOrd="0" destOrd="0" presId="urn:microsoft.com/office/officeart/2005/8/layout/orgChart1"/>
    <dgm:cxn modelId="{DA047612-36B9-4750-8CFE-F59FA365B28C}" type="presParOf" srcId="{28F24310-8939-48F8-AC8C-77AC4D9EA7D4}" destId="{EB260ABF-D98F-43C7-9B4D-3E1F72DDECB1}" srcOrd="1" destOrd="0" presId="urn:microsoft.com/office/officeart/2005/8/layout/orgChart1"/>
    <dgm:cxn modelId="{F92DC924-6351-4A39-9027-189ED7095A6E}" type="presParOf" srcId="{EA0B127D-17E7-4F85-B4A3-0C70C06566B6}" destId="{6B833FC1-74D9-480C-89C9-20F1C1FE6423}" srcOrd="1" destOrd="0" presId="urn:microsoft.com/office/officeart/2005/8/layout/orgChart1"/>
    <dgm:cxn modelId="{B35C8948-3E72-43EC-80BF-80AB8EA16192}" type="presParOf" srcId="{EA0B127D-17E7-4F85-B4A3-0C70C06566B6}" destId="{99330140-EAB1-4B10-8CC3-02FCE784B543}" srcOrd="2" destOrd="0" presId="urn:microsoft.com/office/officeart/2005/8/layout/orgChart1"/>
    <dgm:cxn modelId="{ECAB4539-B1BE-4DA0-BDDB-A16A6633D856}" type="presParOf" srcId="{7271CBCA-A164-4620-9E3E-73EDB349168C}" destId="{DFE98C5E-085B-45A9-9C1D-06552D02C74A}" srcOrd="6" destOrd="0" presId="urn:microsoft.com/office/officeart/2005/8/layout/orgChart1"/>
    <dgm:cxn modelId="{A7B76676-3067-4CAB-B099-BB8D26CD1CA5}" type="presParOf" srcId="{7271CBCA-A164-4620-9E3E-73EDB349168C}" destId="{47E006B2-B5DF-4264-8B34-28CBE396664B}" srcOrd="7" destOrd="0" presId="urn:microsoft.com/office/officeart/2005/8/layout/orgChart1"/>
    <dgm:cxn modelId="{B6D21613-2014-43F5-8B18-0FD50B610EB9}" type="presParOf" srcId="{47E006B2-B5DF-4264-8B34-28CBE396664B}" destId="{B9428F05-FD87-4412-BFE7-7C20D1F0B931}" srcOrd="0" destOrd="0" presId="urn:microsoft.com/office/officeart/2005/8/layout/orgChart1"/>
    <dgm:cxn modelId="{77D6D884-6AF7-470E-B47D-E1668DBD27C1}" type="presParOf" srcId="{B9428F05-FD87-4412-BFE7-7C20D1F0B931}" destId="{24B56603-6DB6-4387-BEC0-335861524DF8}" srcOrd="0" destOrd="0" presId="urn:microsoft.com/office/officeart/2005/8/layout/orgChart1"/>
    <dgm:cxn modelId="{B2916407-0D38-4A00-99AB-2AB1E2F6171B}" type="presParOf" srcId="{B9428F05-FD87-4412-BFE7-7C20D1F0B931}" destId="{5051A7D2-0B2A-4EE3-9D5B-29A9EF34D51E}" srcOrd="1" destOrd="0" presId="urn:microsoft.com/office/officeart/2005/8/layout/orgChart1"/>
    <dgm:cxn modelId="{2ABBED22-F048-4500-8B94-498499BEF033}" type="presParOf" srcId="{47E006B2-B5DF-4264-8B34-28CBE396664B}" destId="{D81A8830-80F7-4E3D-9A0E-B110A00D5346}" srcOrd="1" destOrd="0" presId="urn:microsoft.com/office/officeart/2005/8/layout/orgChart1"/>
    <dgm:cxn modelId="{A04F8A20-BF3B-4E74-A900-CED45619B461}" type="presParOf" srcId="{47E006B2-B5DF-4264-8B34-28CBE396664B}" destId="{E87132D5-BF9A-4FE4-9364-433BA78B7332}" srcOrd="2" destOrd="0" presId="urn:microsoft.com/office/officeart/2005/8/layout/orgChart1"/>
    <dgm:cxn modelId="{903894D5-6397-4DB3-A9FD-05C3E71AAEA4}" type="presParOf" srcId="{7271CBCA-A164-4620-9E3E-73EDB349168C}" destId="{5BE4540C-F354-48C0-A104-18C23515ED78}" srcOrd="8" destOrd="0" presId="urn:microsoft.com/office/officeart/2005/8/layout/orgChart1"/>
    <dgm:cxn modelId="{29197263-9B7F-415A-9187-488C0188BE84}" type="presParOf" srcId="{7271CBCA-A164-4620-9E3E-73EDB349168C}" destId="{3C5CCBAD-5619-4E86-9F0D-EB9DBCBC9063}" srcOrd="9" destOrd="0" presId="urn:microsoft.com/office/officeart/2005/8/layout/orgChart1"/>
    <dgm:cxn modelId="{81AC605E-9ABC-427D-B11C-43D9D09EA1A1}" type="presParOf" srcId="{3C5CCBAD-5619-4E86-9F0D-EB9DBCBC9063}" destId="{21400EF9-E699-4658-B8DE-6D8340CDCD5A}" srcOrd="0" destOrd="0" presId="urn:microsoft.com/office/officeart/2005/8/layout/orgChart1"/>
    <dgm:cxn modelId="{97AC88A3-80CE-4AC2-B200-25A8D26C58E5}" type="presParOf" srcId="{21400EF9-E699-4658-B8DE-6D8340CDCD5A}" destId="{3DD2221E-6403-4756-951F-0FB9C2AC803A}" srcOrd="0" destOrd="0" presId="urn:microsoft.com/office/officeart/2005/8/layout/orgChart1"/>
    <dgm:cxn modelId="{30667A34-9F26-422A-BCFC-61EE5DEA12C3}" type="presParOf" srcId="{21400EF9-E699-4658-B8DE-6D8340CDCD5A}" destId="{BD26533E-4F0B-4BD5-9A3B-3F91CC24B3A9}" srcOrd="1" destOrd="0" presId="urn:microsoft.com/office/officeart/2005/8/layout/orgChart1"/>
    <dgm:cxn modelId="{FCC7CD22-2112-4E74-AF98-D932E1D040C4}" type="presParOf" srcId="{3C5CCBAD-5619-4E86-9F0D-EB9DBCBC9063}" destId="{9FB14752-61BB-474C-AB65-25B3E9BE4D58}" srcOrd="1" destOrd="0" presId="urn:microsoft.com/office/officeart/2005/8/layout/orgChart1"/>
    <dgm:cxn modelId="{CBF6A2CE-179C-4492-A5E3-83F571E61B5B}" type="presParOf" srcId="{3C5CCBAD-5619-4E86-9F0D-EB9DBCBC9063}" destId="{2697359F-36AA-49C2-9242-15570C6A7B43}" srcOrd="2" destOrd="0" presId="urn:microsoft.com/office/officeart/2005/8/layout/orgChart1"/>
    <dgm:cxn modelId="{4358874D-ADE0-41F5-BFB7-D97FECB83BA2}" type="presParOf" srcId="{25F187E5-C7B6-4F70-BF75-E1FF4FC8898D}" destId="{EEB8DBCC-206C-42C4-A41D-6F3C82144902}" srcOrd="2" destOrd="0" presId="urn:microsoft.com/office/officeart/2005/8/layout/orgChart1"/>
    <dgm:cxn modelId="{6937D20F-5042-4CAB-AEEB-84E7AE5210A6}" type="presParOf" srcId="{6BB7AC20-16C3-4C8E-A6A2-EEEE51C8E16A}" destId="{64AFCCBF-4420-4361-A911-2BC5570FF50B}" srcOrd="4" destOrd="0" presId="urn:microsoft.com/office/officeart/2005/8/layout/orgChart1"/>
    <dgm:cxn modelId="{58A89276-09EF-4B99-B5BF-28A952C66EC1}" type="presParOf" srcId="{6BB7AC20-16C3-4C8E-A6A2-EEEE51C8E16A}" destId="{D2482C29-EBBC-459E-B335-F617A2B1CCF5}" srcOrd="5" destOrd="0" presId="urn:microsoft.com/office/officeart/2005/8/layout/orgChart1"/>
    <dgm:cxn modelId="{1BD9C7FE-AD69-465A-AEFC-D489538F91F5}" type="presParOf" srcId="{D2482C29-EBBC-459E-B335-F617A2B1CCF5}" destId="{688BD9E7-A2B3-46A5-922E-31291634AACB}" srcOrd="0" destOrd="0" presId="urn:microsoft.com/office/officeart/2005/8/layout/orgChart1"/>
    <dgm:cxn modelId="{2DF6918D-EA3D-458E-86B9-83F18233987C}" type="presParOf" srcId="{688BD9E7-A2B3-46A5-922E-31291634AACB}" destId="{EA4674C8-EA51-4CF4-8DF9-43F2391F3F74}" srcOrd="0" destOrd="0" presId="urn:microsoft.com/office/officeart/2005/8/layout/orgChart1"/>
    <dgm:cxn modelId="{B9CAE530-4B5B-4B4E-8929-69318A8FFE60}" type="presParOf" srcId="{688BD9E7-A2B3-46A5-922E-31291634AACB}" destId="{2E435836-9A5B-48B4-A5F9-6D2A4E563C5D}" srcOrd="1" destOrd="0" presId="urn:microsoft.com/office/officeart/2005/8/layout/orgChart1"/>
    <dgm:cxn modelId="{86B09242-1104-4ED3-830F-80B89F409F00}" type="presParOf" srcId="{D2482C29-EBBC-459E-B335-F617A2B1CCF5}" destId="{6965C23A-C048-401A-B280-558113976B88}" srcOrd="1" destOrd="0" presId="urn:microsoft.com/office/officeart/2005/8/layout/orgChart1"/>
    <dgm:cxn modelId="{7286CA7B-B681-4FD1-9754-064F8ADAC20A}" type="presParOf" srcId="{6965C23A-C048-401A-B280-558113976B88}" destId="{DE7A3181-64B1-4594-BFFD-BEBFAF8F6045}" srcOrd="0" destOrd="0" presId="urn:microsoft.com/office/officeart/2005/8/layout/orgChart1"/>
    <dgm:cxn modelId="{767B1BFA-30E1-4271-A10A-9FF39A84ED1A}" type="presParOf" srcId="{6965C23A-C048-401A-B280-558113976B88}" destId="{96366B64-D289-4C4F-89B7-4CEB49A4A71B}" srcOrd="1" destOrd="0" presId="urn:microsoft.com/office/officeart/2005/8/layout/orgChart1"/>
    <dgm:cxn modelId="{63261C72-1D7E-418E-9E3C-463109CE626D}" type="presParOf" srcId="{96366B64-D289-4C4F-89B7-4CEB49A4A71B}" destId="{6C16EF9C-9575-4EA8-BCB9-D87DF5E0A0D9}" srcOrd="0" destOrd="0" presId="urn:microsoft.com/office/officeart/2005/8/layout/orgChart1"/>
    <dgm:cxn modelId="{8765BB59-5928-4A54-AAD9-2806560260E4}" type="presParOf" srcId="{6C16EF9C-9575-4EA8-BCB9-D87DF5E0A0D9}" destId="{23B955C0-50B3-406D-95F7-37562251126D}" srcOrd="0" destOrd="0" presId="urn:microsoft.com/office/officeart/2005/8/layout/orgChart1"/>
    <dgm:cxn modelId="{A8BCF490-4997-4D72-9225-798FE9AC0829}" type="presParOf" srcId="{6C16EF9C-9575-4EA8-BCB9-D87DF5E0A0D9}" destId="{953B1FAA-0DD2-44BD-8CAC-65D957D03069}" srcOrd="1" destOrd="0" presId="urn:microsoft.com/office/officeart/2005/8/layout/orgChart1"/>
    <dgm:cxn modelId="{6F3C6F22-3CC6-4C23-85AF-E1BE7BC544AD}" type="presParOf" srcId="{96366B64-D289-4C4F-89B7-4CEB49A4A71B}" destId="{3A69C2FC-73EA-4A7C-8D26-5F360105CA48}" srcOrd="1" destOrd="0" presId="urn:microsoft.com/office/officeart/2005/8/layout/orgChart1"/>
    <dgm:cxn modelId="{6E425B41-8430-44E1-A9BD-ACFC2F31570D}" type="presParOf" srcId="{96366B64-D289-4C4F-89B7-4CEB49A4A71B}" destId="{82BE82CC-3896-43B9-ABAD-2B5E2C90A28F}" srcOrd="2" destOrd="0" presId="urn:microsoft.com/office/officeart/2005/8/layout/orgChart1"/>
    <dgm:cxn modelId="{C352D9BD-A21B-4411-AC95-290528BB11BB}" type="presParOf" srcId="{6965C23A-C048-401A-B280-558113976B88}" destId="{551BB232-3515-434F-A628-A1257B358A40}" srcOrd="2" destOrd="0" presId="urn:microsoft.com/office/officeart/2005/8/layout/orgChart1"/>
    <dgm:cxn modelId="{6A29F470-B835-4D1D-8299-EC491F6502B0}" type="presParOf" srcId="{6965C23A-C048-401A-B280-558113976B88}" destId="{9CA96325-E841-46C7-8BD9-CDB3B3A7AD88}" srcOrd="3" destOrd="0" presId="urn:microsoft.com/office/officeart/2005/8/layout/orgChart1"/>
    <dgm:cxn modelId="{BC97D663-D1C8-4006-8BA1-D6214C24F007}" type="presParOf" srcId="{9CA96325-E841-46C7-8BD9-CDB3B3A7AD88}" destId="{F6F335CA-A619-4009-83F5-1350D136032A}" srcOrd="0" destOrd="0" presId="urn:microsoft.com/office/officeart/2005/8/layout/orgChart1"/>
    <dgm:cxn modelId="{3C38A509-426B-4D2D-AE46-62E454ABC6FF}" type="presParOf" srcId="{F6F335CA-A619-4009-83F5-1350D136032A}" destId="{83FCF8B8-7875-4E7A-84AB-1FD8588FFDE7}" srcOrd="0" destOrd="0" presId="urn:microsoft.com/office/officeart/2005/8/layout/orgChart1"/>
    <dgm:cxn modelId="{979022AD-25E4-4E93-A6D8-86198E070455}" type="presParOf" srcId="{F6F335CA-A619-4009-83F5-1350D136032A}" destId="{04432766-CA59-4535-A036-E64AB8C8928C}" srcOrd="1" destOrd="0" presId="urn:microsoft.com/office/officeart/2005/8/layout/orgChart1"/>
    <dgm:cxn modelId="{3B18B221-1323-4450-9CB2-1D475D9E3CD1}" type="presParOf" srcId="{9CA96325-E841-46C7-8BD9-CDB3B3A7AD88}" destId="{33154E4F-3687-43C8-A4DB-297ADEAC130F}" srcOrd="1" destOrd="0" presId="urn:microsoft.com/office/officeart/2005/8/layout/orgChart1"/>
    <dgm:cxn modelId="{A47429B8-8231-4965-BE95-5406846947AD}" type="presParOf" srcId="{9CA96325-E841-46C7-8BD9-CDB3B3A7AD88}" destId="{3B0C2383-4760-4CF2-A640-49696F69D5FB}" srcOrd="2" destOrd="0" presId="urn:microsoft.com/office/officeart/2005/8/layout/orgChart1"/>
    <dgm:cxn modelId="{A8BBC612-89D1-4470-81B3-B4E0879C4EAC}" type="presParOf" srcId="{D2482C29-EBBC-459E-B335-F617A2B1CCF5}" destId="{0343624D-8D55-4055-A6E4-712E34780962}" srcOrd="2" destOrd="0" presId="urn:microsoft.com/office/officeart/2005/8/layout/orgChart1"/>
    <dgm:cxn modelId="{53C61430-79C0-4FFE-B37A-BDACB7137A1C}" type="presParOf" srcId="{6BB7AC20-16C3-4C8E-A6A2-EEEE51C8E16A}" destId="{4D56D84C-67C3-4622-8BB3-1E488CB0B127}" srcOrd="6" destOrd="0" presId="urn:microsoft.com/office/officeart/2005/8/layout/orgChart1"/>
    <dgm:cxn modelId="{EE3FF6D6-7BF7-46CD-B8F4-5C35B7A1616E}" type="presParOf" srcId="{6BB7AC20-16C3-4C8E-A6A2-EEEE51C8E16A}" destId="{E210950A-A381-4C52-9EB3-D89611C58E95}" srcOrd="7" destOrd="0" presId="urn:microsoft.com/office/officeart/2005/8/layout/orgChart1"/>
    <dgm:cxn modelId="{081D45B9-EA62-475B-8924-1C60FC128395}" type="presParOf" srcId="{E210950A-A381-4C52-9EB3-D89611C58E95}" destId="{F30D1FFA-309B-4A4A-9E00-34383D900FBB}" srcOrd="0" destOrd="0" presId="urn:microsoft.com/office/officeart/2005/8/layout/orgChart1"/>
    <dgm:cxn modelId="{4B568280-DBC3-4641-8AFE-231FEFB2E616}" type="presParOf" srcId="{F30D1FFA-309B-4A4A-9E00-34383D900FBB}" destId="{CF2582DD-F5D9-4379-B9A2-40A989471469}" srcOrd="0" destOrd="0" presId="urn:microsoft.com/office/officeart/2005/8/layout/orgChart1"/>
    <dgm:cxn modelId="{34513DA7-D344-45E4-B368-E49B399212FC}" type="presParOf" srcId="{F30D1FFA-309B-4A4A-9E00-34383D900FBB}" destId="{7A7B294D-DAE1-40BA-8AA1-7E9A0ABCE750}" srcOrd="1" destOrd="0" presId="urn:microsoft.com/office/officeart/2005/8/layout/orgChart1"/>
    <dgm:cxn modelId="{A7AF0BD0-408A-4884-A38C-C9448D9D2D23}" type="presParOf" srcId="{E210950A-A381-4C52-9EB3-D89611C58E95}" destId="{926801EB-BABC-4651-9688-D48C7CEA4C4F}" srcOrd="1" destOrd="0" presId="urn:microsoft.com/office/officeart/2005/8/layout/orgChart1"/>
    <dgm:cxn modelId="{BE82548D-0254-4360-B27B-4439EDD3EE0F}" type="presParOf" srcId="{926801EB-BABC-4651-9688-D48C7CEA4C4F}" destId="{FE8095FC-880D-485B-853A-8198A318E617}" srcOrd="0" destOrd="0" presId="urn:microsoft.com/office/officeart/2005/8/layout/orgChart1"/>
    <dgm:cxn modelId="{3EE4D341-2F4C-4182-A7D9-1552D6731DCC}" type="presParOf" srcId="{926801EB-BABC-4651-9688-D48C7CEA4C4F}" destId="{D691FDD2-ABD2-463C-9018-261D691AA1EC}" srcOrd="1" destOrd="0" presId="urn:microsoft.com/office/officeart/2005/8/layout/orgChart1"/>
    <dgm:cxn modelId="{BB7C9394-3104-476A-963A-12062F2FC978}" type="presParOf" srcId="{D691FDD2-ABD2-463C-9018-261D691AA1EC}" destId="{3F62284F-5879-46E2-AF86-C2B27CA98AA7}" srcOrd="0" destOrd="0" presId="urn:microsoft.com/office/officeart/2005/8/layout/orgChart1"/>
    <dgm:cxn modelId="{CCAA8D1B-6C91-4884-9079-BE44251F0DAD}" type="presParOf" srcId="{3F62284F-5879-46E2-AF86-C2B27CA98AA7}" destId="{5DDC083A-8D89-43B2-87EB-72A1F25E2F92}" srcOrd="0" destOrd="0" presId="urn:microsoft.com/office/officeart/2005/8/layout/orgChart1"/>
    <dgm:cxn modelId="{0FBAD7BE-5D98-4180-A115-7EDB2F1C2F6A}" type="presParOf" srcId="{3F62284F-5879-46E2-AF86-C2B27CA98AA7}" destId="{26F369D8-ECA6-4547-9D7A-93372B0150D6}" srcOrd="1" destOrd="0" presId="urn:microsoft.com/office/officeart/2005/8/layout/orgChart1"/>
    <dgm:cxn modelId="{454C2180-49E4-4FAE-93BC-275C7603418A}" type="presParOf" srcId="{D691FDD2-ABD2-463C-9018-261D691AA1EC}" destId="{84CA3297-C9AA-4369-9C1C-15FBBB9F1B8C}" srcOrd="1" destOrd="0" presId="urn:microsoft.com/office/officeart/2005/8/layout/orgChart1"/>
    <dgm:cxn modelId="{7631EA86-86A4-40E9-B774-99F0E2AC4E16}" type="presParOf" srcId="{D691FDD2-ABD2-463C-9018-261D691AA1EC}" destId="{04B88CE9-411B-4C13-9B48-444D61914477}" srcOrd="2" destOrd="0" presId="urn:microsoft.com/office/officeart/2005/8/layout/orgChart1"/>
    <dgm:cxn modelId="{3DC16A45-55F6-446E-B0E3-013ED900094E}" type="presParOf" srcId="{926801EB-BABC-4651-9688-D48C7CEA4C4F}" destId="{13ED7F28-45D2-4653-B7F0-1133C01AC81C}" srcOrd="2" destOrd="0" presId="urn:microsoft.com/office/officeart/2005/8/layout/orgChart1"/>
    <dgm:cxn modelId="{8A0E0516-6ADA-4164-8B61-3FC409CB2C3D}" type="presParOf" srcId="{926801EB-BABC-4651-9688-D48C7CEA4C4F}" destId="{258E8BF1-207F-4FD1-B526-75228EF3D0E4}" srcOrd="3" destOrd="0" presId="urn:microsoft.com/office/officeart/2005/8/layout/orgChart1"/>
    <dgm:cxn modelId="{F390EBE3-1B64-4CD7-86F4-23E509F95CC7}" type="presParOf" srcId="{258E8BF1-207F-4FD1-B526-75228EF3D0E4}" destId="{D31CB73F-F269-47C6-A0E0-9CD21F2A0523}" srcOrd="0" destOrd="0" presId="urn:microsoft.com/office/officeart/2005/8/layout/orgChart1"/>
    <dgm:cxn modelId="{8E065C2F-1C77-4DB8-BA4E-737611A7E56C}" type="presParOf" srcId="{D31CB73F-F269-47C6-A0E0-9CD21F2A0523}" destId="{7A64D23C-BE55-4001-9C11-41AA4C2DF1FC}" srcOrd="0" destOrd="0" presId="urn:microsoft.com/office/officeart/2005/8/layout/orgChart1"/>
    <dgm:cxn modelId="{91FDAE05-5DA9-4A4D-B328-E3B5450C33DF}" type="presParOf" srcId="{D31CB73F-F269-47C6-A0E0-9CD21F2A0523}" destId="{8DAA997A-B8EA-4257-A4B2-3CC96AF3018A}" srcOrd="1" destOrd="0" presId="urn:microsoft.com/office/officeart/2005/8/layout/orgChart1"/>
    <dgm:cxn modelId="{8877F0E2-2F3D-487E-96DC-FA4BB6F07EA2}" type="presParOf" srcId="{258E8BF1-207F-4FD1-B526-75228EF3D0E4}" destId="{6D65030B-038F-4474-AB17-FAB91E2EA8DE}" srcOrd="1" destOrd="0" presId="urn:microsoft.com/office/officeart/2005/8/layout/orgChart1"/>
    <dgm:cxn modelId="{CAEFB8A0-842A-4A99-891A-C80E2BE4A8D3}" type="presParOf" srcId="{258E8BF1-207F-4FD1-B526-75228EF3D0E4}" destId="{3B92AC45-E32B-4EAC-A822-D4FB97B1D707}" srcOrd="2" destOrd="0" presId="urn:microsoft.com/office/officeart/2005/8/layout/orgChart1"/>
    <dgm:cxn modelId="{CF2791D0-2DEC-4141-B723-7D0A3D7320D3}" type="presParOf" srcId="{926801EB-BABC-4651-9688-D48C7CEA4C4F}" destId="{E9250245-CAC4-4AFC-A9EB-65645D9DD6A3}" srcOrd="4" destOrd="0" presId="urn:microsoft.com/office/officeart/2005/8/layout/orgChart1"/>
    <dgm:cxn modelId="{2964AF2D-215A-4CA3-B302-611B8A9ED482}" type="presParOf" srcId="{926801EB-BABC-4651-9688-D48C7CEA4C4F}" destId="{C93245DC-872B-42DD-A146-8DE0E1767F51}" srcOrd="5" destOrd="0" presId="urn:microsoft.com/office/officeart/2005/8/layout/orgChart1"/>
    <dgm:cxn modelId="{69739622-01E9-4FFA-8F43-874983945E85}" type="presParOf" srcId="{C93245DC-872B-42DD-A146-8DE0E1767F51}" destId="{0C99F327-45D0-4B78-8F62-99B7E27B0EBE}" srcOrd="0" destOrd="0" presId="urn:microsoft.com/office/officeart/2005/8/layout/orgChart1"/>
    <dgm:cxn modelId="{968BFF80-040D-432A-A7A6-7C4A61642610}" type="presParOf" srcId="{0C99F327-45D0-4B78-8F62-99B7E27B0EBE}" destId="{5BEF1219-6836-4938-88FE-8FED429B3586}" srcOrd="0" destOrd="0" presId="urn:microsoft.com/office/officeart/2005/8/layout/orgChart1"/>
    <dgm:cxn modelId="{6FFA8CFF-1C5A-464B-8C17-508BD246C414}" type="presParOf" srcId="{0C99F327-45D0-4B78-8F62-99B7E27B0EBE}" destId="{AC07527A-3442-4E66-B922-718991CA0AC3}" srcOrd="1" destOrd="0" presId="urn:microsoft.com/office/officeart/2005/8/layout/orgChart1"/>
    <dgm:cxn modelId="{71FEB011-CDD1-48E5-8904-85549FC3E1BB}" type="presParOf" srcId="{C93245DC-872B-42DD-A146-8DE0E1767F51}" destId="{F7840F7F-EEA5-4091-99AC-829E75282623}" srcOrd="1" destOrd="0" presId="urn:microsoft.com/office/officeart/2005/8/layout/orgChart1"/>
    <dgm:cxn modelId="{D6C7802B-8860-4856-B790-3307019DC529}" type="presParOf" srcId="{C93245DC-872B-42DD-A146-8DE0E1767F51}" destId="{53099E8E-D4C7-499B-912B-ED938E2CFE01}" srcOrd="2" destOrd="0" presId="urn:microsoft.com/office/officeart/2005/8/layout/orgChart1"/>
    <dgm:cxn modelId="{679B33A0-C406-46BF-ABC0-F0EE2174F96E}" type="presParOf" srcId="{926801EB-BABC-4651-9688-D48C7CEA4C4F}" destId="{B7C81105-A218-4400-97D1-D39E0A33511D}" srcOrd="6" destOrd="0" presId="urn:microsoft.com/office/officeart/2005/8/layout/orgChart1"/>
    <dgm:cxn modelId="{547BB52D-6567-4FDE-82CD-7A5CF5A373F1}" type="presParOf" srcId="{926801EB-BABC-4651-9688-D48C7CEA4C4F}" destId="{60B07053-2668-4E81-B6F6-704BA99AC12C}" srcOrd="7" destOrd="0" presId="urn:microsoft.com/office/officeart/2005/8/layout/orgChart1"/>
    <dgm:cxn modelId="{532572EA-4B6D-4347-812D-798F9C45B29C}" type="presParOf" srcId="{60B07053-2668-4E81-B6F6-704BA99AC12C}" destId="{44919584-8DF8-4185-BF4D-7E37D5C832F7}" srcOrd="0" destOrd="0" presId="urn:microsoft.com/office/officeart/2005/8/layout/orgChart1"/>
    <dgm:cxn modelId="{E0132C61-146C-46FF-AC8E-0F51D5FEDBEE}" type="presParOf" srcId="{44919584-8DF8-4185-BF4D-7E37D5C832F7}" destId="{CD609F84-622D-4BE9-9B7B-FA342E920C5E}" srcOrd="0" destOrd="0" presId="urn:microsoft.com/office/officeart/2005/8/layout/orgChart1"/>
    <dgm:cxn modelId="{7F5E2B82-FC46-4D3F-8020-C31ADD83B6AA}" type="presParOf" srcId="{44919584-8DF8-4185-BF4D-7E37D5C832F7}" destId="{6D999E67-AD03-420F-B3AC-2CE7228F1B37}" srcOrd="1" destOrd="0" presId="urn:microsoft.com/office/officeart/2005/8/layout/orgChart1"/>
    <dgm:cxn modelId="{D354E8A1-E401-4B8A-9776-30809DA3CE40}" type="presParOf" srcId="{60B07053-2668-4E81-B6F6-704BA99AC12C}" destId="{6F8824FF-9787-4A16-9004-9295501BB271}" srcOrd="1" destOrd="0" presId="urn:microsoft.com/office/officeart/2005/8/layout/orgChart1"/>
    <dgm:cxn modelId="{65C149FA-34EB-47A2-BAAE-2C4003299BC3}" type="presParOf" srcId="{60B07053-2668-4E81-B6F6-704BA99AC12C}" destId="{CD229DA5-D53C-418F-A2B7-E7CE0387D1D2}" srcOrd="2" destOrd="0" presId="urn:microsoft.com/office/officeart/2005/8/layout/orgChart1"/>
    <dgm:cxn modelId="{1D2CFAE2-61A3-48FC-8010-24147EAB15F8}" type="presParOf" srcId="{926801EB-BABC-4651-9688-D48C7CEA4C4F}" destId="{13CFDBFC-795A-4F2D-B7B4-3E4BD126626F}" srcOrd="8" destOrd="0" presId="urn:microsoft.com/office/officeart/2005/8/layout/orgChart1"/>
    <dgm:cxn modelId="{4398A31C-ED28-4676-B0F2-0ADF6E4C7F36}" type="presParOf" srcId="{926801EB-BABC-4651-9688-D48C7CEA4C4F}" destId="{D2AA78AD-C002-45A5-A3BA-9B5000286AC6}" srcOrd="9" destOrd="0" presId="urn:microsoft.com/office/officeart/2005/8/layout/orgChart1"/>
    <dgm:cxn modelId="{71223308-1C7B-488B-9703-4745E77EB1A3}" type="presParOf" srcId="{D2AA78AD-C002-45A5-A3BA-9B5000286AC6}" destId="{F6376D9F-1A2F-4216-8ED8-E3F38E3B79C2}" srcOrd="0" destOrd="0" presId="urn:microsoft.com/office/officeart/2005/8/layout/orgChart1"/>
    <dgm:cxn modelId="{E388E97D-5EDA-496F-8A60-589B430D9C90}" type="presParOf" srcId="{F6376D9F-1A2F-4216-8ED8-E3F38E3B79C2}" destId="{5107EE37-977C-4172-9AFE-92909ABA8ED7}" srcOrd="0" destOrd="0" presId="urn:microsoft.com/office/officeart/2005/8/layout/orgChart1"/>
    <dgm:cxn modelId="{DEC1A4B9-CAA4-409C-ADCF-1F3BA343FA7A}" type="presParOf" srcId="{F6376D9F-1A2F-4216-8ED8-E3F38E3B79C2}" destId="{0E34551C-B7E8-4FC7-89E8-3D0F7C9A805A}" srcOrd="1" destOrd="0" presId="urn:microsoft.com/office/officeart/2005/8/layout/orgChart1"/>
    <dgm:cxn modelId="{0D2FAF6C-1E0F-44E7-AD74-8FD69EFD41C3}" type="presParOf" srcId="{D2AA78AD-C002-45A5-A3BA-9B5000286AC6}" destId="{3CCA279F-5C9F-40C4-832B-1D7EC07241BA}" srcOrd="1" destOrd="0" presId="urn:microsoft.com/office/officeart/2005/8/layout/orgChart1"/>
    <dgm:cxn modelId="{CCE8AA2A-C61E-4E83-9F35-BC1C8AAE92EA}" type="presParOf" srcId="{D2AA78AD-C002-45A5-A3BA-9B5000286AC6}" destId="{78CF4650-F6BD-4721-B41B-649525424AFF}" srcOrd="2" destOrd="0" presId="urn:microsoft.com/office/officeart/2005/8/layout/orgChart1"/>
    <dgm:cxn modelId="{2CEE3C30-40E8-4595-B5BF-B59CF4B022C9}" type="presParOf" srcId="{926801EB-BABC-4651-9688-D48C7CEA4C4F}" destId="{64DA4B9F-6F40-48C5-93BB-3113343246D4}" srcOrd="10" destOrd="0" presId="urn:microsoft.com/office/officeart/2005/8/layout/orgChart1"/>
    <dgm:cxn modelId="{D4452B7F-A90B-4CDE-A911-8280E5FDA953}" type="presParOf" srcId="{926801EB-BABC-4651-9688-D48C7CEA4C4F}" destId="{4849C1A5-0369-4F78-8375-5FCB6ADE5077}" srcOrd="11" destOrd="0" presId="urn:microsoft.com/office/officeart/2005/8/layout/orgChart1"/>
    <dgm:cxn modelId="{CC88259C-8A6F-4938-9F02-DE5B9DDB9704}" type="presParOf" srcId="{4849C1A5-0369-4F78-8375-5FCB6ADE5077}" destId="{FA831CE3-7344-4267-AC37-1FBA90FCE3F4}" srcOrd="0" destOrd="0" presId="urn:microsoft.com/office/officeart/2005/8/layout/orgChart1"/>
    <dgm:cxn modelId="{91E3E512-3CC5-412A-832D-94AD902CB41E}" type="presParOf" srcId="{FA831CE3-7344-4267-AC37-1FBA90FCE3F4}" destId="{BB4779EA-0DBB-4ABE-BA6F-344CD770A254}" srcOrd="0" destOrd="0" presId="urn:microsoft.com/office/officeart/2005/8/layout/orgChart1"/>
    <dgm:cxn modelId="{D8578AAC-5A12-4336-8B1B-73B74F74B09B}" type="presParOf" srcId="{FA831CE3-7344-4267-AC37-1FBA90FCE3F4}" destId="{94F60D41-8E41-4ABF-899E-EC2AB4F5F466}" srcOrd="1" destOrd="0" presId="urn:microsoft.com/office/officeart/2005/8/layout/orgChart1"/>
    <dgm:cxn modelId="{204297AD-6ACF-4847-B78E-88FDD3B45F83}" type="presParOf" srcId="{4849C1A5-0369-4F78-8375-5FCB6ADE5077}" destId="{8DAFEA21-653A-4989-9A33-20196E735EC5}" srcOrd="1" destOrd="0" presId="urn:microsoft.com/office/officeart/2005/8/layout/orgChart1"/>
    <dgm:cxn modelId="{C5FC65B7-565F-4514-B125-C61AD1D87DDA}" type="presParOf" srcId="{4849C1A5-0369-4F78-8375-5FCB6ADE5077}" destId="{9D7ECB2C-CBDF-40EC-8791-2F42F5035F08}" srcOrd="2" destOrd="0" presId="urn:microsoft.com/office/officeart/2005/8/layout/orgChart1"/>
    <dgm:cxn modelId="{9E52BDB1-FA1F-4839-9D1B-823DFC906362}" type="presParOf" srcId="{E210950A-A381-4C52-9EB3-D89611C58E95}" destId="{090618D5-DDD5-4536-A689-778DEB151E12}" srcOrd="2" destOrd="0" presId="urn:microsoft.com/office/officeart/2005/8/layout/orgChart1"/>
    <dgm:cxn modelId="{013549D2-84E6-44C6-B7B3-03D8535426A3}" type="presParOf" srcId="{6BB7AC20-16C3-4C8E-A6A2-EEEE51C8E16A}" destId="{215F6BA8-52A0-41A1-90AB-B0408891BFD2}" srcOrd="8" destOrd="0" presId="urn:microsoft.com/office/officeart/2005/8/layout/orgChart1"/>
    <dgm:cxn modelId="{BAEFAD7A-75B3-4A4A-9DCF-7B706A9E83A2}" type="presParOf" srcId="{6BB7AC20-16C3-4C8E-A6A2-EEEE51C8E16A}" destId="{DF60B14B-9D0E-4862-8A0E-B9F984D869DD}" srcOrd="9" destOrd="0" presId="urn:microsoft.com/office/officeart/2005/8/layout/orgChart1"/>
    <dgm:cxn modelId="{A86A1071-541A-4474-9F49-9EFA529D561F}" type="presParOf" srcId="{DF60B14B-9D0E-4862-8A0E-B9F984D869DD}" destId="{B3A634ED-1D5E-4F64-9EF6-5CF633A2B373}" srcOrd="0" destOrd="0" presId="urn:microsoft.com/office/officeart/2005/8/layout/orgChart1"/>
    <dgm:cxn modelId="{8E9910A8-62D5-4AD2-86F8-6982FAF96BF9}" type="presParOf" srcId="{B3A634ED-1D5E-4F64-9EF6-5CF633A2B373}" destId="{337890B3-6AE4-40D0-956C-DFFC21855FBD}" srcOrd="0" destOrd="0" presId="urn:microsoft.com/office/officeart/2005/8/layout/orgChart1"/>
    <dgm:cxn modelId="{00DFD58C-CBD0-465D-A1E0-C0E5E6AB9107}" type="presParOf" srcId="{B3A634ED-1D5E-4F64-9EF6-5CF633A2B373}" destId="{551BD782-F811-43C5-B9C2-75B12A087AF2}" srcOrd="1" destOrd="0" presId="urn:microsoft.com/office/officeart/2005/8/layout/orgChart1"/>
    <dgm:cxn modelId="{0E45B5C7-DA04-4A8F-977F-8169D968AFCC}" type="presParOf" srcId="{DF60B14B-9D0E-4862-8A0E-B9F984D869DD}" destId="{DAC72792-1662-4E92-9261-EEA2B5154CAC}" srcOrd="1" destOrd="0" presId="urn:microsoft.com/office/officeart/2005/8/layout/orgChart1"/>
    <dgm:cxn modelId="{9417FC5C-B4B8-42B0-AEA0-96C2C8CD21C9}" type="presParOf" srcId="{DAC72792-1662-4E92-9261-EEA2B5154CAC}" destId="{BDE839AA-0DBF-4B23-959E-DECF9D227CD3}" srcOrd="0" destOrd="0" presId="urn:microsoft.com/office/officeart/2005/8/layout/orgChart1"/>
    <dgm:cxn modelId="{FCBBF6B2-7E38-493A-9D5E-6825DC36B375}" type="presParOf" srcId="{DAC72792-1662-4E92-9261-EEA2B5154CAC}" destId="{6F992FDD-5A81-423E-A664-5CBFEEC1F99F}" srcOrd="1" destOrd="0" presId="urn:microsoft.com/office/officeart/2005/8/layout/orgChart1"/>
    <dgm:cxn modelId="{AC2CEF5C-8881-431D-9187-5802078E38CE}" type="presParOf" srcId="{6F992FDD-5A81-423E-A664-5CBFEEC1F99F}" destId="{28389BE2-8706-418A-ADF5-429F229F56F2}" srcOrd="0" destOrd="0" presId="urn:microsoft.com/office/officeart/2005/8/layout/orgChart1"/>
    <dgm:cxn modelId="{8C2ADCC2-DF64-4934-BCD0-4BEF0C926F98}" type="presParOf" srcId="{28389BE2-8706-418A-ADF5-429F229F56F2}" destId="{FAAF661C-C933-4474-8A61-B50BBBC14A7D}" srcOrd="0" destOrd="0" presId="urn:microsoft.com/office/officeart/2005/8/layout/orgChart1"/>
    <dgm:cxn modelId="{F765B2CF-5D51-4FE0-A9E8-3C6F08AB6AC4}" type="presParOf" srcId="{28389BE2-8706-418A-ADF5-429F229F56F2}" destId="{0545BE9E-0F31-4A45-A85F-96B2C1BFEE61}" srcOrd="1" destOrd="0" presId="urn:microsoft.com/office/officeart/2005/8/layout/orgChart1"/>
    <dgm:cxn modelId="{3849BDED-F7CB-4459-AA8E-CF2E6AFDD79E}" type="presParOf" srcId="{6F992FDD-5A81-423E-A664-5CBFEEC1F99F}" destId="{7158C335-01E3-4209-91B9-18FB7B6FDCD0}" srcOrd="1" destOrd="0" presId="urn:microsoft.com/office/officeart/2005/8/layout/orgChart1"/>
    <dgm:cxn modelId="{5CB11410-A3C3-4C0C-835F-192385FD4EEC}" type="presParOf" srcId="{6F992FDD-5A81-423E-A664-5CBFEEC1F99F}" destId="{47CA6D44-E862-48EF-B01F-65868AABE975}" srcOrd="2" destOrd="0" presId="urn:microsoft.com/office/officeart/2005/8/layout/orgChart1"/>
    <dgm:cxn modelId="{F831684D-F830-4C9A-A207-7BB73CD01FE5}" type="presParOf" srcId="{DAC72792-1662-4E92-9261-EEA2B5154CAC}" destId="{13A9DBAE-9F13-43A3-8BC6-93890F6D7FA2}" srcOrd="2" destOrd="0" presId="urn:microsoft.com/office/officeart/2005/8/layout/orgChart1"/>
    <dgm:cxn modelId="{1DFB81D5-8069-4973-95D9-04A78782F9C6}" type="presParOf" srcId="{DAC72792-1662-4E92-9261-EEA2B5154CAC}" destId="{5634AAAB-9A8A-4861-B787-E48AA426036D}" srcOrd="3" destOrd="0" presId="urn:microsoft.com/office/officeart/2005/8/layout/orgChart1"/>
    <dgm:cxn modelId="{36C0C5F9-9164-4919-A5B6-98661106CBC1}" type="presParOf" srcId="{5634AAAB-9A8A-4861-B787-E48AA426036D}" destId="{34235F2E-768B-4DC4-A57E-5AADDDB8F690}" srcOrd="0" destOrd="0" presId="urn:microsoft.com/office/officeart/2005/8/layout/orgChart1"/>
    <dgm:cxn modelId="{9B5EE8C7-4CC1-4C8A-8C28-842F5A56D97D}" type="presParOf" srcId="{34235F2E-768B-4DC4-A57E-5AADDDB8F690}" destId="{0EE34835-1A70-4C28-A337-BDA611F2BD24}" srcOrd="0" destOrd="0" presId="urn:microsoft.com/office/officeart/2005/8/layout/orgChart1"/>
    <dgm:cxn modelId="{777D574F-F15B-497B-A109-6BAFA5A0631F}" type="presParOf" srcId="{34235F2E-768B-4DC4-A57E-5AADDDB8F690}" destId="{E21425BE-0FB9-44F2-8D95-C2B2050065B5}" srcOrd="1" destOrd="0" presId="urn:microsoft.com/office/officeart/2005/8/layout/orgChart1"/>
    <dgm:cxn modelId="{6131A96C-1A10-437D-8001-E249E2B90ACC}" type="presParOf" srcId="{5634AAAB-9A8A-4861-B787-E48AA426036D}" destId="{A1849777-09D5-4105-84F6-AB4E9AF8CC3B}" srcOrd="1" destOrd="0" presId="urn:microsoft.com/office/officeart/2005/8/layout/orgChart1"/>
    <dgm:cxn modelId="{5C030C2B-8CA5-4B21-BF13-56BBD8C0A73A}" type="presParOf" srcId="{5634AAAB-9A8A-4861-B787-E48AA426036D}" destId="{8F825DB5-FDE9-46D9-9A44-2B3DCCFED2E5}" srcOrd="2" destOrd="0" presId="urn:microsoft.com/office/officeart/2005/8/layout/orgChart1"/>
    <dgm:cxn modelId="{CC1B0986-9F7C-4828-A560-AA88570E8381}" type="presParOf" srcId="{DAC72792-1662-4E92-9261-EEA2B5154CAC}" destId="{CD9E3978-72E6-4B4C-99A3-61C52EDBF7DF}" srcOrd="4" destOrd="0" presId="urn:microsoft.com/office/officeart/2005/8/layout/orgChart1"/>
    <dgm:cxn modelId="{B77C364E-2D93-41CD-A601-CF3BA63991AD}" type="presParOf" srcId="{DAC72792-1662-4E92-9261-EEA2B5154CAC}" destId="{C0079C73-D27C-4F18-99DE-A29C60441C48}" srcOrd="5" destOrd="0" presId="urn:microsoft.com/office/officeart/2005/8/layout/orgChart1"/>
    <dgm:cxn modelId="{FF3F88B5-F548-4EA6-9668-5AFC1896AE51}" type="presParOf" srcId="{C0079C73-D27C-4F18-99DE-A29C60441C48}" destId="{A6D872B1-F1C8-4F11-8910-1DA919A3628A}" srcOrd="0" destOrd="0" presId="urn:microsoft.com/office/officeart/2005/8/layout/orgChart1"/>
    <dgm:cxn modelId="{20AF46E4-DE32-4A9F-B8A1-741EC63522AF}" type="presParOf" srcId="{A6D872B1-F1C8-4F11-8910-1DA919A3628A}" destId="{F4DF54E5-D8B2-4A3D-8B13-8E3A7CBAFDC4}" srcOrd="0" destOrd="0" presId="urn:microsoft.com/office/officeart/2005/8/layout/orgChart1"/>
    <dgm:cxn modelId="{C5BDD69F-087A-45BE-A42A-1239D3923FEC}" type="presParOf" srcId="{A6D872B1-F1C8-4F11-8910-1DA919A3628A}" destId="{2A08E1BB-B8BF-4FF2-BC90-85483B90E0FF}" srcOrd="1" destOrd="0" presId="urn:microsoft.com/office/officeart/2005/8/layout/orgChart1"/>
    <dgm:cxn modelId="{CFBB6013-9475-4EDA-AE6E-FD8854B96017}" type="presParOf" srcId="{C0079C73-D27C-4F18-99DE-A29C60441C48}" destId="{F7932A87-4FF1-4051-8A55-64E1CCCAE2C1}" srcOrd="1" destOrd="0" presId="urn:microsoft.com/office/officeart/2005/8/layout/orgChart1"/>
    <dgm:cxn modelId="{F8B10A09-04AF-483E-BACF-956F2EA3CDAF}" type="presParOf" srcId="{C0079C73-D27C-4F18-99DE-A29C60441C48}" destId="{8CC7B6C0-2850-418B-8A27-15542D775024}" srcOrd="2" destOrd="0" presId="urn:microsoft.com/office/officeart/2005/8/layout/orgChart1"/>
    <dgm:cxn modelId="{B07A75DD-D638-4BAC-BEC8-1056544B48E2}" type="presParOf" srcId="{DAC72792-1662-4E92-9261-EEA2B5154CAC}" destId="{4D1C9ECA-5301-4C71-99E2-AEEFD468990D}" srcOrd="6" destOrd="0" presId="urn:microsoft.com/office/officeart/2005/8/layout/orgChart1"/>
    <dgm:cxn modelId="{243A9E94-9F54-43F8-9215-08FD2BAD44C1}" type="presParOf" srcId="{DAC72792-1662-4E92-9261-EEA2B5154CAC}" destId="{6431BEB6-7FD4-4E12-8234-DF7AFBFC5F0A}" srcOrd="7" destOrd="0" presId="urn:microsoft.com/office/officeart/2005/8/layout/orgChart1"/>
    <dgm:cxn modelId="{2B53B9FA-E8EA-4468-817A-CA382624655D}" type="presParOf" srcId="{6431BEB6-7FD4-4E12-8234-DF7AFBFC5F0A}" destId="{BFEF7A74-BDE5-44E0-A37C-3840709897FC}" srcOrd="0" destOrd="0" presId="urn:microsoft.com/office/officeart/2005/8/layout/orgChart1"/>
    <dgm:cxn modelId="{E894B46A-CD7E-4BD7-B8E3-6E2FF3AF548C}" type="presParOf" srcId="{BFEF7A74-BDE5-44E0-A37C-3840709897FC}" destId="{7010E9D7-AFDD-4AC5-9833-1C3EE0B0C22B}" srcOrd="0" destOrd="0" presId="urn:microsoft.com/office/officeart/2005/8/layout/orgChart1"/>
    <dgm:cxn modelId="{3F8DE51C-57A1-4E3C-A38C-CC036382F2A1}" type="presParOf" srcId="{BFEF7A74-BDE5-44E0-A37C-3840709897FC}" destId="{FA945DE8-BAF1-4083-9ABC-64AA9415B31D}" srcOrd="1" destOrd="0" presId="urn:microsoft.com/office/officeart/2005/8/layout/orgChart1"/>
    <dgm:cxn modelId="{EBD24833-785B-477C-BAE2-1A5E8BC938B9}" type="presParOf" srcId="{6431BEB6-7FD4-4E12-8234-DF7AFBFC5F0A}" destId="{A0D84F06-BEF0-47EC-9F0F-CD35FDFAD0C0}" srcOrd="1" destOrd="0" presId="urn:microsoft.com/office/officeart/2005/8/layout/orgChart1"/>
    <dgm:cxn modelId="{86253E36-C7A3-47B9-A0E5-0B75AF40E9BE}" type="presParOf" srcId="{6431BEB6-7FD4-4E12-8234-DF7AFBFC5F0A}" destId="{74783556-0D47-4302-B571-F9E8DAF63253}" srcOrd="2" destOrd="0" presId="urn:microsoft.com/office/officeart/2005/8/layout/orgChart1"/>
    <dgm:cxn modelId="{D2377C57-798F-434A-88D2-AFAA83F34962}" type="presParOf" srcId="{DF60B14B-9D0E-4862-8A0E-B9F984D869DD}" destId="{008EB2AB-E71E-4A98-BDF3-C6B947ECAACC}" srcOrd="2" destOrd="0" presId="urn:microsoft.com/office/officeart/2005/8/layout/orgChart1"/>
    <dgm:cxn modelId="{8C37A7FA-65EB-41EE-B449-1E869107DFB1}" type="presParOf" srcId="{6BB7AC20-16C3-4C8E-A6A2-EEEE51C8E16A}" destId="{F30FA549-CC53-4EC0-9783-9A58112DC4F6}" srcOrd="10" destOrd="0" presId="urn:microsoft.com/office/officeart/2005/8/layout/orgChart1"/>
    <dgm:cxn modelId="{862C927B-196D-4378-A952-14B71B9EFB13}" type="presParOf" srcId="{6BB7AC20-16C3-4C8E-A6A2-EEEE51C8E16A}" destId="{2CC4E969-714B-4241-A17C-8F6440A84218}" srcOrd="11" destOrd="0" presId="urn:microsoft.com/office/officeart/2005/8/layout/orgChart1"/>
    <dgm:cxn modelId="{C0529E76-D1CD-428B-8606-A29C7203F802}" type="presParOf" srcId="{2CC4E969-714B-4241-A17C-8F6440A84218}" destId="{7E376AB2-A05B-4B3E-95BD-19229CF5F7DD}" srcOrd="0" destOrd="0" presId="urn:microsoft.com/office/officeart/2005/8/layout/orgChart1"/>
    <dgm:cxn modelId="{029F0D51-0553-4253-A130-1F5CBCF801DA}" type="presParOf" srcId="{7E376AB2-A05B-4B3E-95BD-19229CF5F7DD}" destId="{14DCA77F-61B9-4D0D-B790-959FFF40C578}" srcOrd="0" destOrd="0" presId="urn:microsoft.com/office/officeart/2005/8/layout/orgChart1"/>
    <dgm:cxn modelId="{BB04D791-82F3-4B35-83CD-4FB66967AB0B}" type="presParOf" srcId="{7E376AB2-A05B-4B3E-95BD-19229CF5F7DD}" destId="{18A777C0-B51F-4DC3-97B3-B06AE2BB0A34}" srcOrd="1" destOrd="0" presId="urn:microsoft.com/office/officeart/2005/8/layout/orgChart1"/>
    <dgm:cxn modelId="{72E0C9FF-DE74-40D1-BDB4-575DDA50B104}" type="presParOf" srcId="{2CC4E969-714B-4241-A17C-8F6440A84218}" destId="{94098C9E-922A-4E25-80D8-A13C5A7A1562}" srcOrd="1" destOrd="0" presId="urn:microsoft.com/office/officeart/2005/8/layout/orgChart1"/>
    <dgm:cxn modelId="{CD832248-8BB8-42C7-9BE2-132267A7496E}" type="presParOf" srcId="{94098C9E-922A-4E25-80D8-A13C5A7A1562}" destId="{8B7316E5-9773-4E34-964F-CC6B0F8455B0}" srcOrd="0" destOrd="0" presId="urn:microsoft.com/office/officeart/2005/8/layout/orgChart1"/>
    <dgm:cxn modelId="{4731661F-D19F-48D3-8901-0F68DCEEFF21}" type="presParOf" srcId="{94098C9E-922A-4E25-80D8-A13C5A7A1562}" destId="{D215F456-BFA6-4245-878B-9C4CA79AD5F0}" srcOrd="1" destOrd="0" presId="urn:microsoft.com/office/officeart/2005/8/layout/orgChart1"/>
    <dgm:cxn modelId="{B1EFEDB0-8467-4598-AEF8-55EB396C0F18}" type="presParOf" srcId="{D215F456-BFA6-4245-878B-9C4CA79AD5F0}" destId="{923E4C56-1F1F-4383-8151-D8D07FB8A5C0}" srcOrd="0" destOrd="0" presId="urn:microsoft.com/office/officeart/2005/8/layout/orgChart1"/>
    <dgm:cxn modelId="{92D78390-A511-4AC6-BAC6-B597A9CA6D27}" type="presParOf" srcId="{923E4C56-1F1F-4383-8151-D8D07FB8A5C0}" destId="{CCB409D9-17BE-4D52-8CD5-95171BD939A0}" srcOrd="0" destOrd="0" presId="urn:microsoft.com/office/officeart/2005/8/layout/orgChart1"/>
    <dgm:cxn modelId="{A7E90DDA-36FB-4DBC-A7D2-5CDEAC108671}" type="presParOf" srcId="{923E4C56-1F1F-4383-8151-D8D07FB8A5C0}" destId="{AE9744E2-7F66-41E7-ADB4-474A377E159D}" srcOrd="1" destOrd="0" presId="urn:microsoft.com/office/officeart/2005/8/layout/orgChart1"/>
    <dgm:cxn modelId="{88DF7AF3-7BB6-4846-A386-C56893FC1A4E}" type="presParOf" srcId="{D215F456-BFA6-4245-878B-9C4CA79AD5F0}" destId="{C3176AA5-B353-4AAD-9375-F443BEF3DCBE}" srcOrd="1" destOrd="0" presId="urn:microsoft.com/office/officeart/2005/8/layout/orgChart1"/>
    <dgm:cxn modelId="{E468C1B5-50E2-47D0-A64D-F78B64217B42}" type="presParOf" srcId="{D215F456-BFA6-4245-878B-9C4CA79AD5F0}" destId="{2F0ADB0E-CD7B-4AAF-8BA5-9C3671A16B20}" srcOrd="2" destOrd="0" presId="urn:microsoft.com/office/officeart/2005/8/layout/orgChart1"/>
    <dgm:cxn modelId="{0AB1D12E-40BD-4DA8-99EF-DBF225B16604}" type="presParOf" srcId="{94098C9E-922A-4E25-80D8-A13C5A7A1562}" destId="{8301A82B-26FF-4EFA-B0DF-5BFF89D576FB}" srcOrd="2" destOrd="0" presId="urn:microsoft.com/office/officeart/2005/8/layout/orgChart1"/>
    <dgm:cxn modelId="{869975EE-5DB5-4650-9550-0BAE4D66AF27}" type="presParOf" srcId="{94098C9E-922A-4E25-80D8-A13C5A7A1562}" destId="{313B5F6E-5D14-4D35-A557-0F20B8B61801}" srcOrd="3" destOrd="0" presId="urn:microsoft.com/office/officeart/2005/8/layout/orgChart1"/>
    <dgm:cxn modelId="{2B62FBAD-1059-4AF2-A44D-793A4D2AA780}" type="presParOf" srcId="{313B5F6E-5D14-4D35-A557-0F20B8B61801}" destId="{1E0F247A-9F35-4E7F-8BED-82A4549861AD}" srcOrd="0" destOrd="0" presId="urn:microsoft.com/office/officeart/2005/8/layout/orgChart1"/>
    <dgm:cxn modelId="{A4B9E314-CAEB-4111-B3F2-34AD5501B94B}" type="presParOf" srcId="{1E0F247A-9F35-4E7F-8BED-82A4549861AD}" destId="{164840EF-D075-49BA-80AC-1E6B1E9AA7D1}" srcOrd="0" destOrd="0" presId="urn:microsoft.com/office/officeart/2005/8/layout/orgChart1"/>
    <dgm:cxn modelId="{BE4F4E71-B168-496D-AE8E-2DE61BA9DE2D}" type="presParOf" srcId="{1E0F247A-9F35-4E7F-8BED-82A4549861AD}" destId="{40DCAD75-9E83-40BE-8641-EB33107F7019}" srcOrd="1" destOrd="0" presId="urn:microsoft.com/office/officeart/2005/8/layout/orgChart1"/>
    <dgm:cxn modelId="{5D715711-58AA-43EA-B469-1A204D4590CB}" type="presParOf" srcId="{313B5F6E-5D14-4D35-A557-0F20B8B61801}" destId="{BFE797C1-1490-4F5C-AAAF-E4E643D9AC3E}" srcOrd="1" destOrd="0" presId="urn:microsoft.com/office/officeart/2005/8/layout/orgChart1"/>
    <dgm:cxn modelId="{485AD6F9-13A2-4F9E-A6C9-6C51590F9A43}" type="presParOf" srcId="{313B5F6E-5D14-4D35-A557-0F20B8B61801}" destId="{F3A17C41-5C09-4877-9A50-C3C4A825DFC2}" srcOrd="2" destOrd="0" presId="urn:microsoft.com/office/officeart/2005/8/layout/orgChart1"/>
    <dgm:cxn modelId="{369C230E-81C5-441C-9FD7-5E19182E38A4}" type="presParOf" srcId="{94098C9E-922A-4E25-80D8-A13C5A7A1562}" destId="{D4DE84D5-1D0B-4A69-9D51-6E4BCD7E74B0}" srcOrd="4" destOrd="0" presId="urn:microsoft.com/office/officeart/2005/8/layout/orgChart1"/>
    <dgm:cxn modelId="{0F4247E0-EBBD-431E-A32D-4A112FF93604}" type="presParOf" srcId="{94098C9E-922A-4E25-80D8-A13C5A7A1562}" destId="{D7ED2995-1164-4911-8D97-3FFA35FBEF61}" srcOrd="5" destOrd="0" presId="urn:microsoft.com/office/officeart/2005/8/layout/orgChart1"/>
    <dgm:cxn modelId="{E7366E3D-B76C-4137-9292-E6F586EDE520}" type="presParOf" srcId="{D7ED2995-1164-4911-8D97-3FFA35FBEF61}" destId="{CAB15317-F12F-4E5C-81E9-F97FE63D9783}" srcOrd="0" destOrd="0" presId="urn:microsoft.com/office/officeart/2005/8/layout/orgChart1"/>
    <dgm:cxn modelId="{B3626B2D-CC34-4B5C-87AE-B5E937402480}" type="presParOf" srcId="{CAB15317-F12F-4E5C-81E9-F97FE63D9783}" destId="{B6D71253-74DD-43DA-A2AD-C109F3DFD760}" srcOrd="0" destOrd="0" presId="urn:microsoft.com/office/officeart/2005/8/layout/orgChart1"/>
    <dgm:cxn modelId="{08895BB7-7EF8-4FA0-BC35-3C63845C52FF}" type="presParOf" srcId="{CAB15317-F12F-4E5C-81E9-F97FE63D9783}" destId="{426D2A17-0BE7-478D-B014-CA3B6C413BF6}" srcOrd="1" destOrd="0" presId="urn:microsoft.com/office/officeart/2005/8/layout/orgChart1"/>
    <dgm:cxn modelId="{AE571232-9F31-45E7-A70C-7C8988CAEDDA}" type="presParOf" srcId="{D7ED2995-1164-4911-8D97-3FFA35FBEF61}" destId="{68A92F2F-2B34-493C-B93E-D1494A0D04AE}" srcOrd="1" destOrd="0" presId="urn:microsoft.com/office/officeart/2005/8/layout/orgChart1"/>
    <dgm:cxn modelId="{984D32D3-9C09-493F-A670-24F182BD85FF}" type="presParOf" srcId="{D7ED2995-1164-4911-8D97-3FFA35FBEF61}" destId="{A4E5790F-0F45-4505-825A-62A1C6656134}" srcOrd="2" destOrd="0" presId="urn:microsoft.com/office/officeart/2005/8/layout/orgChart1"/>
    <dgm:cxn modelId="{475AFFBC-36CA-41EF-A6A2-F908DFF4549E}" type="presParOf" srcId="{94098C9E-922A-4E25-80D8-A13C5A7A1562}" destId="{CD9863CD-7D36-4932-80A3-F3EDA2C1A7B5}" srcOrd="6" destOrd="0" presId="urn:microsoft.com/office/officeart/2005/8/layout/orgChart1"/>
    <dgm:cxn modelId="{4307A998-32EA-457F-86EC-A63A253B3B55}" type="presParOf" srcId="{94098C9E-922A-4E25-80D8-A13C5A7A1562}" destId="{B4E7CA9E-8B50-43D0-90BF-60EFBFF915CB}" srcOrd="7" destOrd="0" presId="urn:microsoft.com/office/officeart/2005/8/layout/orgChart1"/>
    <dgm:cxn modelId="{18403132-FBE4-4931-9005-EC2FAB767B1B}" type="presParOf" srcId="{B4E7CA9E-8B50-43D0-90BF-60EFBFF915CB}" destId="{4F30B142-7EF5-4947-9AE0-62E46DF4FBCF}" srcOrd="0" destOrd="0" presId="urn:microsoft.com/office/officeart/2005/8/layout/orgChart1"/>
    <dgm:cxn modelId="{C217E38A-A3DB-4BE5-B9F6-9B81570E8E1D}" type="presParOf" srcId="{4F30B142-7EF5-4947-9AE0-62E46DF4FBCF}" destId="{B00093B9-2203-43F2-A035-A931774A0873}" srcOrd="0" destOrd="0" presId="urn:microsoft.com/office/officeart/2005/8/layout/orgChart1"/>
    <dgm:cxn modelId="{B66BCDD5-0913-446D-99CF-332845BF7DEA}" type="presParOf" srcId="{4F30B142-7EF5-4947-9AE0-62E46DF4FBCF}" destId="{9000BEEE-6E9F-4065-AFD5-25E8EE714025}" srcOrd="1" destOrd="0" presId="urn:microsoft.com/office/officeart/2005/8/layout/orgChart1"/>
    <dgm:cxn modelId="{7EB0F747-D114-4912-8D8F-C0893964EF8B}" type="presParOf" srcId="{B4E7CA9E-8B50-43D0-90BF-60EFBFF915CB}" destId="{5D42BB2F-63FA-4F76-8737-567824EAD939}" srcOrd="1" destOrd="0" presId="urn:microsoft.com/office/officeart/2005/8/layout/orgChart1"/>
    <dgm:cxn modelId="{E30CA1F9-D11D-479B-A2A8-05312FC47572}" type="presParOf" srcId="{B4E7CA9E-8B50-43D0-90BF-60EFBFF915CB}" destId="{5932383C-55AB-496E-8F61-3FFF72C6B321}" srcOrd="2" destOrd="0" presId="urn:microsoft.com/office/officeart/2005/8/layout/orgChart1"/>
    <dgm:cxn modelId="{40F59B90-4763-49F3-8E8F-21677FF7DDA1}" type="presParOf" srcId="{2CC4E969-714B-4241-A17C-8F6440A84218}" destId="{4C28C9BD-4C70-45A3-93D3-876280B1CD11}" srcOrd="2" destOrd="0" presId="urn:microsoft.com/office/officeart/2005/8/layout/orgChart1"/>
    <dgm:cxn modelId="{BDEF2581-27D1-4490-847C-9E4D5D88169C}" type="presParOf" srcId="{6BB7AC20-16C3-4C8E-A6A2-EEEE51C8E16A}" destId="{F924925C-F21D-4A89-B5FE-96B7AC8B4EB3}" srcOrd="12" destOrd="0" presId="urn:microsoft.com/office/officeart/2005/8/layout/orgChart1"/>
    <dgm:cxn modelId="{F0E4B916-889E-40ED-B7EC-A0255A13D31C}" type="presParOf" srcId="{6BB7AC20-16C3-4C8E-A6A2-EEEE51C8E16A}" destId="{17311BC9-CBF3-418E-B133-B62D612E1C70}" srcOrd="13" destOrd="0" presId="urn:microsoft.com/office/officeart/2005/8/layout/orgChart1"/>
    <dgm:cxn modelId="{8E112AA1-4D80-4F6E-AF91-47D0B6415B7D}" type="presParOf" srcId="{17311BC9-CBF3-418E-B133-B62D612E1C70}" destId="{1621C6AE-81C4-433C-B25C-A933F54BDF59}" srcOrd="0" destOrd="0" presId="urn:microsoft.com/office/officeart/2005/8/layout/orgChart1"/>
    <dgm:cxn modelId="{C7677B14-B21C-4C82-BDA9-57D1749C0A8D}" type="presParOf" srcId="{1621C6AE-81C4-433C-B25C-A933F54BDF59}" destId="{429E6F42-71A5-4822-B7AC-EF9BE8857790}" srcOrd="0" destOrd="0" presId="urn:microsoft.com/office/officeart/2005/8/layout/orgChart1"/>
    <dgm:cxn modelId="{E5F9A451-F1B8-48C1-A5B8-0459BDAB40D4}" type="presParOf" srcId="{1621C6AE-81C4-433C-B25C-A933F54BDF59}" destId="{DC463041-45A6-4401-AFEB-6D11D2B9740E}" srcOrd="1" destOrd="0" presId="urn:microsoft.com/office/officeart/2005/8/layout/orgChart1"/>
    <dgm:cxn modelId="{C2848A37-2B55-41AC-A0F1-5AFDE50A18C8}" type="presParOf" srcId="{17311BC9-CBF3-418E-B133-B62D612E1C70}" destId="{887051B1-A80D-4F6D-B7DD-400A92DFA231}" srcOrd="1" destOrd="0" presId="urn:microsoft.com/office/officeart/2005/8/layout/orgChart1"/>
    <dgm:cxn modelId="{5AEA3F23-4091-459E-B8C3-3DB1A5CB9F08}" type="presParOf" srcId="{887051B1-A80D-4F6D-B7DD-400A92DFA231}" destId="{DB403472-1495-4555-A660-69C01159E1DC}" srcOrd="0" destOrd="0" presId="urn:microsoft.com/office/officeart/2005/8/layout/orgChart1"/>
    <dgm:cxn modelId="{6432D6CE-AD01-42F6-9272-0D315943CD44}" type="presParOf" srcId="{887051B1-A80D-4F6D-B7DD-400A92DFA231}" destId="{FFEE1153-9AA6-4516-BBCB-8EED056E6A34}" srcOrd="1" destOrd="0" presId="urn:microsoft.com/office/officeart/2005/8/layout/orgChart1"/>
    <dgm:cxn modelId="{A42F338F-29BD-4274-8A1D-B2164E05F576}" type="presParOf" srcId="{FFEE1153-9AA6-4516-BBCB-8EED056E6A34}" destId="{C4E4E57A-9ECB-4259-8DA3-D70E8ADFD4DC}" srcOrd="0" destOrd="0" presId="urn:microsoft.com/office/officeart/2005/8/layout/orgChart1"/>
    <dgm:cxn modelId="{452AA701-D3AC-4CE1-850A-C5A0FD354CC1}" type="presParOf" srcId="{C4E4E57A-9ECB-4259-8DA3-D70E8ADFD4DC}" destId="{B93231A2-9AC7-40CB-960A-1F0A9D68B86C}" srcOrd="0" destOrd="0" presId="urn:microsoft.com/office/officeart/2005/8/layout/orgChart1"/>
    <dgm:cxn modelId="{003C50C1-1924-4D7F-85C7-2F0AC3E4DFB6}" type="presParOf" srcId="{C4E4E57A-9ECB-4259-8DA3-D70E8ADFD4DC}" destId="{2F0B692C-8BF6-4992-9303-5EE2B2E1C803}" srcOrd="1" destOrd="0" presId="urn:microsoft.com/office/officeart/2005/8/layout/orgChart1"/>
    <dgm:cxn modelId="{E46D50FB-6F45-45F3-A785-7A9584B75959}" type="presParOf" srcId="{FFEE1153-9AA6-4516-BBCB-8EED056E6A34}" destId="{D67B4B06-CFBC-498B-BCAB-99F9AB95FFBB}" srcOrd="1" destOrd="0" presId="urn:microsoft.com/office/officeart/2005/8/layout/orgChart1"/>
    <dgm:cxn modelId="{9FFCC30D-BF5F-4963-AFFF-1EA7BB3834AC}" type="presParOf" srcId="{FFEE1153-9AA6-4516-BBCB-8EED056E6A34}" destId="{E9FF93E6-DE1F-4612-AACF-497AABC88656}" srcOrd="2" destOrd="0" presId="urn:microsoft.com/office/officeart/2005/8/layout/orgChart1"/>
    <dgm:cxn modelId="{1A3257EB-8932-43AE-9092-8B76CD7A173E}" type="presParOf" srcId="{887051B1-A80D-4F6D-B7DD-400A92DFA231}" destId="{CB7DB2EC-2962-4694-833B-7195FBA3B24C}" srcOrd="2" destOrd="0" presId="urn:microsoft.com/office/officeart/2005/8/layout/orgChart1"/>
    <dgm:cxn modelId="{C047D670-0F6D-4E7A-BEE9-FE78179670DF}" type="presParOf" srcId="{887051B1-A80D-4F6D-B7DD-400A92DFA231}" destId="{A85ABCE7-AC0B-4287-8A37-2E0A9873CF87}" srcOrd="3" destOrd="0" presId="urn:microsoft.com/office/officeart/2005/8/layout/orgChart1"/>
    <dgm:cxn modelId="{BAF4A3CC-2A15-446A-B2B9-71DC5B308C56}" type="presParOf" srcId="{A85ABCE7-AC0B-4287-8A37-2E0A9873CF87}" destId="{413E6915-1852-42DD-94A7-57FA19DB53A8}" srcOrd="0" destOrd="0" presId="urn:microsoft.com/office/officeart/2005/8/layout/orgChart1"/>
    <dgm:cxn modelId="{DAD90BE0-828C-4D93-ADCA-138BC83C5BD9}" type="presParOf" srcId="{413E6915-1852-42DD-94A7-57FA19DB53A8}" destId="{54225024-149D-4187-9B46-BAF28ED40CB2}" srcOrd="0" destOrd="0" presId="urn:microsoft.com/office/officeart/2005/8/layout/orgChart1"/>
    <dgm:cxn modelId="{B886663E-A748-4F3D-B3B6-15C45DCC891D}" type="presParOf" srcId="{413E6915-1852-42DD-94A7-57FA19DB53A8}" destId="{63897C55-F630-4C89-9E80-4FD0717294EC}" srcOrd="1" destOrd="0" presId="urn:microsoft.com/office/officeart/2005/8/layout/orgChart1"/>
    <dgm:cxn modelId="{5AAB2808-F0AB-411C-B60C-ADBCAF46ECA8}" type="presParOf" srcId="{A85ABCE7-AC0B-4287-8A37-2E0A9873CF87}" destId="{DA42CF79-F3E6-4761-8BCB-EC9CF8040792}" srcOrd="1" destOrd="0" presId="urn:microsoft.com/office/officeart/2005/8/layout/orgChart1"/>
    <dgm:cxn modelId="{BB235F97-F54F-4ED8-9B30-E1E675A0108B}" type="presParOf" srcId="{A85ABCE7-AC0B-4287-8A37-2E0A9873CF87}" destId="{55E7CA84-2E98-47D3-8D50-AFE35A5276EF}" srcOrd="2" destOrd="0" presId="urn:microsoft.com/office/officeart/2005/8/layout/orgChart1"/>
    <dgm:cxn modelId="{6CB44452-DB9F-4564-9516-15E986B60639}" type="presParOf" srcId="{887051B1-A80D-4F6D-B7DD-400A92DFA231}" destId="{194478CE-8568-4931-8DFB-B81536ECE4F0}" srcOrd="4" destOrd="0" presId="urn:microsoft.com/office/officeart/2005/8/layout/orgChart1"/>
    <dgm:cxn modelId="{44395656-72FF-48D1-BDBE-C5F2D4E333FC}" type="presParOf" srcId="{887051B1-A80D-4F6D-B7DD-400A92DFA231}" destId="{DD2F1A7E-1CD8-41BD-803F-7391BD389245}" srcOrd="5" destOrd="0" presId="urn:microsoft.com/office/officeart/2005/8/layout/orgChart1"/>
    <dgm:cxn modelId="{8C07DA5E-64CE-457B-87E2-BFD16DBC86CC}" type="presParOf" srcId="{DD2F1A7E-1CD8-41BD-803F-7391BD389245}" destId="{1D11A3F0-6EC8-4657-AE49-34116DED2A49}" srcOrd="0" destOrd="0" presId="urn:microsoft.com/office/officeart/2005/8/layout/orgChart1"/>
    <dgm:cxn modelId="{B449DD3C-EFD1-4E7B-B204-D048E53CEF04}" type="presParOf" srcId="{1D11A3F0-6EC8-4657-AE49-34116DED2A49}" destId="{7B9450D2-E45A-44CB-BEAD-4AC865E140D0}" srcOrd="0" destOrd="0" presId="urn:microsoft.com/office/officeart/2005/8/layout/orgChart1"/>
    <dgm:cxn modelId="{BC5F3290-58F5-4722-A163-03C59529AABE}" type="presParOf" srcId="{1D11A3F0-6EC8-4657-AE49-34116DED2A49}" destId="{D8193C2D-300E-4953-8000-69B635B9448D}" srcOrd="1" destOrd="0" presId="urn:microsoft.com/office/officeart/2005/8/layout/orgChart1"/>
    <dgm:cxn modelId="{6D49B3D3-659C-4EF6-AEB6-1873C80816CE}" type="presParOf" srcId="{DD2F1A7E-1CD8-41BD-803F-7391BD389245}" destId="{E6ECA57A-0DE1-4CF1-8CAD-1C3B94160C1A}" srcOrd="1" destOrd="0" presId="urn:microsoft.com/office/officeart/2005/8/layout/orgChart1"/>
    <dgm:cxn modelId="{B5AA8D48-1AB2-4AF5-8352-2125FFF50B2B}" type="presParOf" srcId="{DD2F1A7E-1CD8-41BD-803F-7391BD389245}" destId="{12123E84-5251-4E9B-BFFB-CA46A427B385}" srcOrd="2" destOrd="0" presId="urn:microsoft.com/office/officeart/2005/8/layout/orgChart1"/>
    <dgm:cxn modelId="{DF4FC411-5F54-40D5-AB8C-97A31DC5739A}" type="presParOf" srcId="{887051B1-A80D-4F6D-B7DD-400A92DFA231}" destId="{A4369D11-075C-4A5F-BA46-A618892793FD}" srcOrd="6" destOrd="0" presId="urn:microsoft.com/office/officeart/2005/8/layout/orgChart1"/>
    <dgm:cxn modelId="{628B5C2A-5E0E-4079-8190-BA70E5CD9997}" type="presParOf" srcId="{887051B1-A80D-4F6D-B7DD-400A92DFA231}" destId="{965A9D65-CDA2-4ACD-95FC-C1568BEAEFAE}" srcOrd="7" destOrd="0" presId="urn:microsoft.com/office/officeart/2005/8/layout/orgChart1"/>
    <dgm:cxn modelId="{7B0CD0D5-04F2-4278-B476-881F5292B0A9}" type="presParOf" srcId="{965A9D65-CDA2-4ACD-95FC-C1568BEAEFAE}" destId="{08ADB67A-07D1-47A9-8D49-C5AC5143AC58}" srcOrd="0" destOrd="0" presId="urn:microsoft.com/office/officeart/2005/8/layout/orgChart1"/>
    <dgm:cxn modelId="{343FC579-C10E-44F6-BEFA-08E4015BF26E}" type="presParOf" srcId="{08ADB67A-07D1-47A9-8D49-C5AC5143AC58}" destId="{A553870E-2E7F-46B5-B678-9D7A0ED4C5D0}" srcOrd="0" destOrd="0" presId="urn:microsoft.com/office/officeart/2005/8/layout/orgChart1"/>
    <dgm:cxn modelId="{695369AD-0CF1-4905-AF0D-11EA77FBC662}" type="presParOf" srcId="{08ADB67A-07D1-47A9-8D49-C5AC5143AC58}" destId="{8BF43AC8-2CA4-4B74-A42B-AC59FFB62EAE}" srcOrd="1" destOrd="0" presId="urn:microsoft.com/office/officeart/2005/8/layout/orgChart1"/>
    <dgm:cxn modelId="{2893BB88-A0BA-492E-BABA-5B964ABE290E}" type="presParOf" srcId="{965A9D65-CDA2-4ACD-95FC-C1568BEAEFAE}" destId="{A8F2488F-125D-48DA-B218-84CE15EB7009}" srcOrd="1" destOrd="0" presId="urn:microsoft.com/office/officeart/2005/8/layout/orgChart1"/>
    <dgm:cxn modelId="{F551A3CB-1B55-4B01-B6E2-BD7AC44320A1}" type="presParOf" srcId="{965A9D65-CDA2-4ACD-95FC-C1568BEAEFAE}" destId="{A59060D5-45E6-4286-ADAA-EDA4BA42430C}" srcOrd="2" destOrd="0" presId="urn:microsoft.com/office/officeart/2005/8/layout/orgChart1"/>
    <dgm:cxn modelId="{DA5EE1BD-5EC9-45A1-8182-6EF113A2CF91}" type="presParOf" srcId="{17311BC9-CBF3-418E-B133-B62D612E1C70}" destId="{AB710F92-7FE7-43D8-8275-0F1C4301BF3B}" srcOrd="2" destOrd="0" presId="urn:microsoft.com/office/officeart/2005/8/layout/orgChart1"/>
    <dgm:cxn modelId="{6B3722A9-BE00-415F-90AF-16533A8B19E2}" type="presParOf" srcId="{6BB7AC20-16C3-4C8E-A6A2-EEEE51C8E16A}" destId="{37C267AB-0C11-4559-BF41-E94E8C6276C9}" srcOrd="14" destOrd="0" presId="urn:microsoft.com/office/officeart/2005/8/layout/orgChart1"/>
    <dgm:cxn modelId="{56A99EF2-C9C1-4A38-9C34-51261C38AE1B}" type="presParOf" srcId="{6BB7AC20-16C3-4C8E-A6A2-EEEE51C8E16A}" destId="{9F0C36E0-C3FB-4871-ABC2-F1B1869D62C4}" srcOrd="15" destOrd="0" presId="urn:microsoft.com/office/officeart/2005/8/layout/orgChart1"/>
    <dgm:cxn modelId="{1D6C94E7-00B9-410F-ABFC-DE2892689D16}" type="presParOf" srcId="{9F0C36E0-C3FB-4871-ABC2-F1B1869D62C4}" destId="{7D5C4EB8-35AD-4867-8371-C42C23936ECA}" srcOrd="0" destOrd="0" presId="urn:microsoft.com/office/officeart/2005/8/layout/orgChart1"/>
    <dgm:cxn modelId="{426D447C-485C-4EC5-B069-420C0A28AC2A}" type="presParOf" srcId="{7D5C4EB8-35AD-4867-8371-C42C23936ECA}" destId="{DF978ED3-101A-4A47-A40D-C7CA39F6E736}" srcOrd="0" destOrd="0" presId="urn:microsoft.com/office/officeart/2005/8/layout/orgChart1"/>
    <dgm:cxn modelId="{0EBEF971-A0E2-4FE6-A849-FD0FD257066F}" type="presParOf" srcId="{7D5C4EB8-35AD-4867-8371-C42C23936ECA}" destId="{BC4ABC45-3174-4F7B-A856-369C8B9F3CFE}" srcOrd="1" destOrd="0" presId="urn:microsoft.com/office/officeart/2005/8/layout/orgChart1"/>
    <dgm:cxn modelId="{317635F9-5B2F-411D-B741-1DBB12C43341}" type="presParOf" srcId="{9F0C36E0-C3FB-4871-ABC2-F1B1869D62C4}" destId="{92E14FE1-6F29-4D5C-B0E7-487E7D843B16}" srcOrd="1" destOrd="0" presId="urn:microsoft.com/office/officeart/2005/8/layout/orgChart1"/>
    <dgm:cxn modelId="{3A3EF64A-FFCF-4D03-87E2-A25ECBE7B0BA}" type="presParOf" srcId="{92E14FE1-6F29-4D5C-B0E7-487E7D843B16}" destId="{793A5BA4-3386-4F35-8F0F-3815DE3B2062}" srcOrd="0" destOrd="0" presId="urn:microsoft.com/office/officeart/2005/8/layout/orgChart1"/>
    <dgm:cxn modelId="{658D34A3-A19B-4AC1-9E58-3D8A44958E95}" type="presParOf" srcId="{92E14FE1-6F29-4D5C-B0E7-487E7D843B16}" destId="{17CDE30A-B656-4DA9-88AB-A32030E9736F}" srcOrd="1" destOrd="0" presId="urn:microsoft.com/office/officeart/2005/8/layout/orgChart1"/>
    <dgm:cxn modelId="{D55E889B-16D6-47A4-B91B-0683FE9B2EBC}" type="presParOf" srcId="{17CDE30A-B656-4DA9-88AB-A32030E9736F}" destId="{13020843-0F98-4AB3-B18E-E5D0E8560452}" srcOrd="0" destOrd="0" presId="urn:microsoft.com/office/officeart/2005/8/layout/orgChart1"/>
    <dgm:cxn modelId="{2AD40DEF-5744-4184-BB21-9321B06EAC3B}" type="presParOf" srcId="{13020843-0F98-4AB3-B18E-E5D0E8560452}" destId="{365EA09E-A2C5-4853-93D2-D3F70EBFB5C1}" srcOrd="0" destOrd="0" presId="urn:microsoft.com/office/officeart/2005/8/layout/orgChart1"/>
    <dgm:cxn modelId="{E4D71A81-3543-4AC4-B08C-B8FF244570E6}" type="presParOf" srcId="{13020843-0F98-4AB3-B18E-E5D0E8560452}" destId="{90D497F9-30BE-422C-A14E-E78FC8C54541}" srcOrd="1" destOrd="0" presId="urn:microsoft.com/office/officeart/2005/8/layout/orgChart1"/>
    <dgm:cxn modelId="{A8ABE2BC-5DD4-4DA1-9F45-EF45FD299930}" type="presParOf" srcId="{17CDE30A-B656-4DA9-88AB-A32030E9736F}" destId="{24188F46-88EE-4888-A044-A21D705163A5}" srcOrd="1" destOrd="0" presId="urn:microsoft.com/office/officeart/2005/8/layout/orgChart1"/>
    <dgm:cxn modelId="{85B56CD0-6732-48BD-B85B-A54F20C3D610}" type="presParOf" srcId="{17CDE30A-B656-4DA9-88AB-A32030E9736F}" destId="{94CC5E41-3DE5-41DF-A2E3-D172E801D28D}" srcOrd="2" destOrd="0" presId="urn:microsoft.com/office/officeart/2005/8/layout/orgChart1"/>
    <dgm:cxn modelId="{7579F2D9-CF52-48AF-80A4-D2F272029727}" type="presParOf" srcId="{92E14FE1-6F29-4D5C-B0E7-487E7D843B16}" destId="{C5F105FB-99A9-406A-813A-1091F0DB8C7F}" srcOrd="2" destOrd="0" presId="urn:microsoft.com/office/officeart/2005/8/layout/orgChart1"/>
    <dgm:cxn modelId="{D0459F64-7E28-4556-A71B-E8716BD8522B}" type="presParOf" srcId="{92E14FE1-6F29-4D5C-B0E7-487E7D843B16}" destId="{49624906-29FA-4156-A738-30AD3B787EDB}" srcOrd="3" destOrd="0" presId="urn:microsoft.com/office/officeart/2005/8/layout/orgChart1"/>
    <dgm:cxn modelId="{FDF7E0AB-4A8F-478E-B6E2-587289DE0A69}" type="presParOf" srcId="{49624906-29FA-4156-A738-30AD3B787EDB}" destId="{D3F4865F-16B5-4923-8E90-0AE947640679}" srcOrd="0" destOrd="0" presId="urn:microsoft.com/office/officeart/2005/8/layout/orgChart1"/>
    <dgm:cxn modelId="{BB9E23CE-106D-4260-9B3D-A5D6A6D89046}" type="presParOf" srcId="{D3F4865F-16B5-4923-8E90-0AE947640679}" destId="{EF1627D7-ACEC-487F-A3FA-2C465C84CFD4}" srcOrd="0" destOrd="0" presId="urn:microsoft.com/office/officeart/2005/8/layout/orgChart1"/>
    <dgm:cxn modelId="{F56533AF-3711-4D8A-A518-A012258EADCB}" type="presParOf" srcId="{D3F4865F-16B5-4923-8E90-0AE947640679}" destId="{B4FE364A-D83B-41C2-90D3-BAFD328FF952}" srcOrd="1" destOrd="0" presId="urn:microsoft.com/office/officeart/2005/8/layout/orgChart1"/>
    <dgm:cxn modelId="{7978094A-C292-47EC-B631-B48EB39FAE8A}" type="presParOf" srcId="{49624906-29FA-4156-A738-30AD3B787EDB}" destId="{3527D602-6386-44E4-ACBD-5C98BDE49B0E}" srcOrd="1" destOrd="0" presId="urn:microsoft.com/office/officeart/2005/8/layout/orgChart1"/>
    <dgm:cxn modelId="{509FD2E1-9A36-43EA-99F7-8B2E146ED5EC}" type="presParOf" srcId="{49624906-29FA-4156-A738-30AD3B787EDB}" destId="{EC531D51-FA5C-427F-B545-192171CB9230}" srcOrd="2" destOrd="0" presId="urn:microsoft.com/office/officeart/2005/8/layout/orgChart1"/>
    <dgm:cxn modelId="{5EC2C8B8-240F-4130-8C27-FACB6C045A52}" type="presParOf" srcId="{92E14FE1-6F29-4D5C-B0E7-487E7D843B16}" destId="{CDFC16D4-8066-47D2-8435-B20297012FC0}" srcOrd="4" destOrd="0" presId="urn:microsoft.com/office/officeart/2005/8/layout/orgChart1"/>
    <dgm:cxn modelId="{3F970B2E-B1BE-42C9-B421-B6ED176B1191}" type="presParOf" srcId="{92E14FE1-6F29-4D5C-B0E7-487E7D843B16}" destId="{4B98AF85-D016-4ACE-89C6-56FFC3CD58D5}" srcOrd="5" destOrd="0" presId="urn:microsoft.com/office/officeart/2005/8/layout/orgChart1"/>
    <dgm:cxn modelId="{120B4E94-AB83-4837-B204-62DA79758684}" type="presParOf" srcId="{4B98AF85-D016-4ACE-89C6-56FFC3CD58D5}" destId="{BAB5F18A-BED2-4B22-BC85-D7D325430B64}" srcOrd="0" destOrd="0" presId="urn:microsoft.com/office/officeart/2005/8/layout/orgChart1"/>
    <dgm:cxn modelId="{6281995B-59E7-44BF-B439-F6D4C5300F4F}" type="presParOf" srcId="{BAB5F18A-BED2-4B22-BC85-D7D325430B64}" destId="{F5CECA5E-DFEE-44F1-AA9B-8AFB32F046D0}" srcOrd="0" destOrd="0" presId="urn:microsoft.com/office/officeart/2005/8/layout/orgChart1"/>
    <dgm:cxn modelId="{91321189-DE1A-476D-882D-6834F0F332CC}" type="presParOf" srcId="{BAB5F18A-BED2-4B22-BC85-D7D325430B64}" destId="{A6719A07-5BB5-4A56-86ED-109CA92F7194}" srcOrd="1" destOrd="0" presId="urn:microsoft.com/office/officeart/2005/8/layout/orgChart1"/>
    <dgm:cxn modelId="{884EC9DD-DDAF-4A95-83A5-9C741FDF6515}" type="presParOf" srcId="{4B98AF85-D016-4ACE-89C6-56FFC3CD58D5}" destId="{C925BB34-6B17-4451-AE41-2BD9C3B4D91D}" srcOrd="1" destOrd="0" presId="urn:microsoft.com/office/officeart/2005/8/layout/orgChart1"/>
    <dgm:cxn modelId="{5DB9A66C-2F8A-44EC-A145-C27A8D202D5B}" type="presParOf" srcId="{4B98AF85-D016-4ACE-89C6-56FFC3CD58D5}" destId="{08418852-C624-4B93-A5E9-996D174B9EAA}" srcOrd="2" destOrd="0" presId="urn:microsoft.com/office/officeart/2005/8/layout/orgChart1"/>
    <dgm:cxn modelId="{AA963B1F-7E7E-4150-8E83-E648163B8928}" type="presParOf" srcId="{92E14FE1-6F29-4D5C-B0E7-487E7D843B16}" destId="{68290E20-987B-4526-9F1B-099EEF87D1A3}" srcOrd="6" destOrd="0" presId="urn:microsoft.com/office/officeart/2005/8/layout/orgChart1"/>
    <dgm:cxn modelId="{F72E93A6-21C7-4BB5-9946-5E81E61D58A7}" type="presParOf" srcId="{92E14FE1-6F29-4D5C-B0E7-487E7D843B16}" destId="{AC85A4C4-F51F-4D28-8D61-19D4BAC6A751}" srcOrd="7" destOrd="0" presId="urn:microsoft.com/office/officeart/2005/8/layout/orgChart1"/>
    <dgm:cxn modelId="{E950A92A-038F-42FF-8EC2-9A92A0136BE8}" type="presParOf" srcId="{AC85A4C4-F51F-4D28-8D61-19D4BAC6A751}" destId="{E4536AFB-9E7D-4A40-8D2B-9BB07050BBD1}" srcOrd="0" destOrd="0" presId="urn:microsoft.com/office/officeart/2005/8/layout/orgChart1"/>
    <dgm:cxn modelId="{78C1583D-FA8C-4703-85D5-C414636AC9A2}" type="presParOf" srcId="{E4536AFB-9E7D-4A40-8D2B-9BB07050BBD1}" destId="{0050A19F-6838-409C-9FC1-8A36A5966ECA}" srcOrd="0" destOrd="0" presId="urn:microsoft.com/office/officeart/2005/8/layout/orgChart1"/>
    <dgm:cxn modelId="{CF9823A6-CE86-4F19-B8EC-AC099939D5E2}" type="presParOf" srcId="{E4536AFB-9E7D-4A40-8D2B-9BB07050BBD1}" destId="{69AAE9B4-D376-4D35-8B0D-1D1D2436BE24}" srcOrd="1" destOrd="0" presId="urn:microsoft.com/office/officeart/2005/8/layout/orgChart1"/>
    <dgm:cxn modelId="{A45531CB-1874-4824-BA9E-EBC1186073EC}" type="presParOf" srcId="{AC85A4C4-F51F-4D28-8D61-19D4BAC6A751}" destId="{45F48996-1EE9-4E5F-B1C7-083367EBCFD2}" srcOrd="1" destOrd="0" presId="urn:microsoft.com/office/officeart/2005/8/layout/orgChart1"/>
    <dgm:cxn modelId="{F1BCB578-8C8C-462E-8C02-571DDF44620C}" type="presParOf" srcId="{AC85A4C4-F51F-4D28-8D61-19D4BAC6A751}" destId="{452423ED-A2C0-47E2-8A86-E9E5A40ADB90}" srcOrd="2" destOrd="0" presId="urn:microsoft.com/office/officeart/2005/8/layout/orgChart1"/>
    <dgm:cxn modelId="{9D9E4B2B-F124-43A4-A47F-8227DFB926D5}" type="presParOf" srcId="{9F0C36E0-C3FB-4871-ABC2-F1B1869D62C4}" destId="{4B608E37-918B-461E-ACBC-24D4CC02170A}" srcOrd="2" destOrd="0" presId="urn:microsoft.com/office/officeart/2005/8/layout/orgChart1"/>
    <dgm:cxn modelId="{59B4B259-AF77-41C8-AAF4-3001C35086CA}" type="presParOf" srcId="{6BB7AC20-16C3-4C8E-A6A2-EEEE51C8E16A}" destId="{E95E06EE-D542-4F7A-AA3C-DED1EBBFD0E1}" srcOrd="16" destOrd="0" presId="urn:microsoft.com/office/officeart/2005/8/layout/orgChart1"/>
    <dgm:cxn modelId="{13BFA1DC-AD63-48C0-AD9D-9BF8F3BDD6FD}" type="presParOf" srcId="{6BB7AC20-16C3-4C8E-A6A2-EEEE51C8E16A}" destId="{C41AD779-785B-49DB-B014-7C666DC887C7}" srcOrd="17" destOrd="0" presId="urn:microsoft.com/office/officeart/2005/8/layout/orgChart1"/>
    <dgm:cxn modelId="{F6B5E30D-24ED-410C-92FB-02A100F534B3}" type="presParOf" srcId="{C41AD779-785B-49DB-B014-7C666DC887C7}" destId="{6CC3F6E0-4DDF-45FB-9777-6B02772C9599}" srcOrd="0" destOrd="0" presId="urn:microsoft.com/office/officeart/2005/8/layout/orgChart1"/>
    <dgm:cxn modelId="{FFDDB161-CF39-4527-81CE-12BD5914BD3B}" type="presParOf" srcId="{6CC3F6E0-4DDF-45FB-9777-6B02772C9599}" destId="{A5C7991E-014C-4149-8E07-AEF9E2C8B17C}" srcOrd="0" destOrd="0" presId="urn:microsoft.com/office/officeart/2005/8/layout/orgChart1"/>
    <dgm:cxn modelId="{1B8606FD-014E-4F4C-B6EA-F6F1E61845FA}" type="presParOf" srcId="{6CC3F6E0-4DDF-45FB-9777-6B02772C9599}" destId="{F4F48D3F-50A3-40F2-A7A1-6D2CA093E263}" srcOrd="1" destOrd="0" presId="urn:microsoft.com/office/officeart/2005/8/layout/orgChart1"/>
    <dgm:cxn modelId="{74054126-64E1-4ABB-864E-2F6853C3D685}" type="presParOf" srcId="{C41AD779-785B-49DB-B014-7C666DC887C7}" destId="{182A9F8E-609D-4C54-BF2A-2E34C1A61948}" srcOrd="1" destOrd="0" presId="urn:microsoft.com/office/officeart/2005/8/layout/orgChart1"/>
    <dgm:cxn modelId="{2AD99B00-46F3-4E1C-832A-290C66B8208C}" type="presParOf" srcId="{182A9F8E-609D-4C54-BF2A-2E34C1A61948}" destId="{E04B8F2E-35A6-40F2-B216-4D1F03B20FCE}" srcOrd="0" destOrd="0" presId="urn:microsoft.com/office/officeart/2005/8/layout/orgChart1"/>
    <dgm:cxn modelId="{F6038BC5-412C-43AD-A325-D6F02CD713B6}" type="presParOf" srcId="{182A9F8E-609D-4C54-BF2A-2E34C1A61948}" destId="{81F4D48B-8C67-4665-91B0-CB7F94922657}" srcOrd="1" destOrd="0" presId="urn:microsoft.com/office/officeart/2005/8/layout/orgChart1"/>
    <dgm:cxn modelId="{26CAC748-65A1-4924-8DA1-37C4B0375D50}" type="presParOf" srcId="{81F4D48B-8C67-4665-91B0-CB7F94922657}" destId="{F599B4F3-3762-488B-9FA7-F3193748BBFF}" srcOrd="0" destOrd="0" presId="urn:microsoft.com/office/officeart/2005/8/layout/orgChart1"/>
    <dgm:cxn modelId="{A293A20D-5857-4D63-981A-D121EC18608D}" type="presParOf" srcId="{F599B4F3-3762-488B-9FA7-F3193748BBFF}" destId="{2D1B589F-B938-440D-940F-63177CA73599}" srcOrd="0" destOrd="0" presId="urn:microsoft.com/office/officeart/2005/8/layout/orgChart1"/>
    <dgm:cxn modelId="{B45E4C2C-FFB6-4B36-85F4-DDCD48754903}" type="presParOf" srcId="{F599B4F3-3762-488B-9FA7-F3193748BBFF}" destId="{F7D24A9F-F9BC-461F-AC39-4ED035C1D9F9}" srcOrd="1" destOrd="0" presId="urn:microsoft.com/office/officeart/2005/8/layout/orgChart1"/>
    <dgm:cxn modelId="{AC730AA0-D26F-4CB3-8B05-925844B5F710}" type="presParOf" srcId="{81F4D48B-8C67-4665-91B0-CB7F94922657}" destId="{D2B8AA94-89B9-4AE1-A8BA-D4E4D4D6EFAB}" srcOrd="1" destOrd="0" presId="urn:microsoft.com/office/officeart/2005/8/layout/orgChart1"/>
    <dgm:cxn modelId="{4B8C4AA4-0B98-4877-A8B0-B2FD0707DBA3}" type="presParOf" srcId="{81F4D48B-8C67-4665-91B0-CB7F94922657}" destId="{E9D4C183-C2AF-426E-A2B8-31E459B6ABD3}" srcOrd="2" destOrd="0" presId="urn:microsoft.com/office/officeart/2005/8/layout/orgChart1"/>
    <dgm:cxn modelId="{60CD7594-4187-47C2-8569-6784502F5F57}" type="presParOf" srcId="{182A9F8E-609D-4C54-BF2A-2E34C1A61948}" destId="{4E0B2B9F-2850-4791-8292-505CEBA4BAC8}" srcOrd="2" destOrd="0" presId="urn:microsoft.com/office/officeart/2005/8/layout/orgChart1"/>
    <dgm:cxn modelId="{B677D506-B1CF-439B-9C11-97944A7776DC}" type="presParOf" srcId="{182A9F8E-609D-4C54-BF2A-2E34C1A61948}" destId="{08402B2D-C9AA-4ED6-B2F9-2052095FF7EE}" srcOrd="3" destOrd="0" presId="urn:microsoft.com/office/officeart/2005/8/layout/orgChart1"/>
    <dgm:cxn modelId="{03547F25-7B60-477D-A233-039D38900D48}" type="presParOf" srcId="{08402B2D-C9AA-4ED6-B2F9-2052095FF7EE}" destId="{B167ED56-6E56-4228-BC1D-8A5802B864C4}" srcOrd="0" destOrd="0" presId="urn:microsoft.com/office/officeart/2005/8/layout/orgChart1"/>
    <dgm:cxn modelId="{63B689B6-3E19-4425-A6D5-FE6CAECEBD57}" type="presParOf" srcId="{B167ED56-6E56-4228-BC1D-8A5802B864C4}" destId="{9C6450EA-3783-4D99-88A4-86D3FC37C055}" srcOrd="0" destOrd="0" presId="urn:microsoft.com/office/officeart/2005/8/layout/orgChart1"/>
    <dgm:cxn modelId="{F1500D86-EFE8-4532-9ACC-CBB96AEF14AF}" type="presParOf" srcId="{B167ED56-6E56-4228-BC1D-8A5802B864C4}" destId="{28FBAB95-635B-4659-A6CC-C094D7526556}" srcOrd="1" destOrd="0" presId="urn:microsoft.com/office/officeart/2005/8/layout/orgChart1"/>
    <dgm:cxn modelId="{62A66F05-9B41-4EA4-87E2-E056F288D86D}" type="presParOf" srcId="{08402B2D-C9AA-4ED6-B2F9-2052095FF7EE}" destId="{73360F73-216A-4D91-8CDE-A7376B546ACC}" srcOrd="1" destOrd="0" presId="urn:microsoft.com/office/officeart/2005/8/layout/orgChart1"/>
    <dgm:cxn modelId="{9F8DC42A-4D14-4BC6-8E95-6F30CE33868F}" type="presParOf" srcId="{08402B2D-C9AA-4ED6-B2F9-2052095FF7EE}" destId="{3D0D4884-651A-48BB-BADA-F433F363BA6E}" srcOrd="2" destOrd="0" presId="urn:microsoft.com/office/officeart/2005/8/layout/orgChart1"/>
    <dgm:cxn modelId="{179C4D8A-C885-4A98-9DF2-268858228DE5}" type="presParOf" srcId="{C41AD779-785B-49DB-B014-7C666DC887C7}" destId="{3A7FCECA-585A-4390-A6C1-4F046F657236}" srcOrd="2" destOrd="0" presId="urn:microsoft.com/office/officeart/2005/8/layout/orgChart1"/>
    <dgm:cxn modelId="{9665018A-C631-48AB-B9DE-3587A1C08B9D}" type="presParOf" srcId="{769C6205-7306-4D24-AB83-1234E08B377F}" destId="{7B969BD7-2FA4-4019-B088-9D42076EF775}"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89AC5C-DCDD-4776-86D8-45AF33B64C8B}" type="doc">
      <dgm:prSet loTypeId="urn:microsoft.com/office/officeart/2005/8/layout/hierarchy4" loCatId="list" qsTypeId="urn:microsoft.com/office/officeart/2005/8/quickstyle/simple1" qsCatId="simple" csTypeId="urn:microsoft.com/office/officeart/2005/8/colors/colorful4" csCatId="colorful" phldr="1"/>
      <dgm:spPr/>
      <dgm:t>
        <a:bodyPr/>
        <a:lstStyle/>
        <a:p>
          <a:endParaRPr lang="es-PE"/>
        </a:p>
      </dgm:t>
    </dgm:pt>
    <dgm:pt modelId="{51F09DA6-932B-4782-896F-C9CA0595B049}">
      <dgm:prSet phldrT="[Texto]"/>
      <dgm:spPr/>
      <dgm:t>
        <a:bodyPr/>
        <a:lstStyle/>
        <a:p>
          <a:r>
            <a:rPr lang="es-PE" dirty="0"/>
            <a:t>Recaudación</a:t>
          </a:r>
        </a:p>
      </dgm:t>
    </dgm:pt>
    <dgm:pt modelId="{8E6A6586-AE9C-40C7-B02D-7A94FA7C136D}" type="parTrans" cxnId="{65CCBB69-3A3C-444A-9F48-1AA1FD9A005E}">
      <dgm:prSet/>
      <dgm:spPr/>
      <dgm:t>
        <a:bodyPr/>
        <a:lstStyle/>
        <a:p>
          <a:endParaRPr lang="es-PE"/>
        </a:p>
      </dgm:t>
    </dgm:pt>
    <dgm:pt modelId="{811ADA51-20BA-4A35-B7D0-B34416657BD2}" type="sibTrans" cxnId="{65CCBB69-3A3C-444A-9F48-1AA1FD9A005E}">
      <dgm:prSet/>
      <dgm:spPr/>
      <dgm:t>
        <a:bodyPr/>
        <a:lstStyle/>
        <a:p>
          <a:endParaRPr lang="es-PE"/>
        </a:p>
      </dgm:t>
    </dgm:pt>
    <dgm:pt modelId="{727C4086-48A8-4C92-9115-F0FBAF0D6C9D}">
      <dgm:prSet phldrT="[Texto]"/>
      <dgm:spPr/>
      <dgm:t>
        <a:bodyPr/>
        <a:lstStyle/>
        <a:p>
          <a:r>
            <a:rPr lang="es-PE" dirty="0"/>
            <a:t>Omisos a la presentación PRICO (Matriz)</a:t>
          </a:r>
        </a:p>
      </dgm:t>
    </dgm:pt>
    <dgm:pt modelId="{0D4EFB6F-3232-4C53-BC6F-4BC3D50CCFC8}" type="parTrans" cxnId="{FA5D4819-5BBE-4C92-B3D4-6C560A1C3D9D}">
      <dgm:prSet/>
      <dgm:spPr/>
      <dgm:t>
        <a:bodyPr/>
        <a:lstStyle/>
        <a:p>
          <a:endParaRPr lang="es-PE"/>
        </a:p>
      </dgm:t>
    </dgm:pt>
    <dgm:pt modelId="{EC961040-1A85-4F52-8BC0-230BD7159751}" type="sibTrans" cxnId="{FA5D4819-5BBE-4C92-B3D4-6C560A1C3D9D}">
      <dgm:prSet/>
      <dgm:spPr/>
      <dgm:t>
        <a:bodyPr/>
        <a:lstStyle/>
        <a:p>
          <a:endParaRPr lang="es-PE"/>
        </a:p>
      </dgm:t>
    </dgm:pt>
    <dgm:pt modelId="{D628707A-911A-4AD7-82D1-274FADDA7D63}">
      <dgm:prSet phldrT="[Texto]"/>
      <dgm:spPr/>
      <dgm:t>
        <a:bodyPr/>
        <a:lstStyle/>
        <a:p>
          <a:r>
            <a:rPr lang="es-PE" dirty="0"/>
            <a:t>Wilfredo Albarracín / Marcela Vargas</a:t>
          </a:r>
        </a:p>
      </dgm:t>
    </dgm:pt>
    <dgm:pt modelId="{9CB275B3-472A-4E3F-8AF3-E35246A0FC68}" type="parTrans" cxnId="{EC3A0902-A04B-4BA5-A598-C790B0F17144}">
      <dgm:prSet/>
      <dgm:spPr/>
      <dgm:t>
        <a:bodyPr/>
        <a:lstStyle/>
        <a:p>
          <a:endParaRPr lang="es-PE"/>
        </a:p>
      </dgm:t>
    </dgm:pt>
    <dgm:pt modelId="{B1099767-0323-4098-BC55-DAF96758A7D5}" type="sibTrans" cxnId="{EC3A0902-A04B-4BA5-A598-C790B0F17144}">
      <dgm:prSet/>
      <dgm:spPr/>
      <dgm:t>
        <a:bodyPr/>
        <a:lstStyle/>
        <a:p>
          <a:endParaRPr lang="es-PE"/>
        </a:p>
      </dgm:t>
    </dgm:pt>
    <dgm:pt modelId="{9BCCF806-4949-46BB-A71E-634F2E624C48}">
      <dgm:prSet phldrT="[Texto]"/>
      <dgm:spPr/>
      <dgm:t>
        <a:bodyPr/>
        <a:lstStyle/>
        <a:p>
          <a:r>
            <a:rPr lang="es-PE" dirty="0"/>
            <a:t>Control de la Deuda</a:t>
          </a:r>
        </a:p>
      </dgm:t>
    </dgm:pt>
    <dgm:pt modelId="{0FAAD5CA-08CE-4D81-BE2B-57C62DDBE1A5}" type="parTrans" cxnId="{EAEF8549-7855-4AA3-B969-48CEEE7A894E}">
      <dgm:prSet/>
      <dgm:spPr/>
      <dgm:t>
        <a:bodyPr/>
        <a:lstStyle/>
        <a:p>
          <a:endParaRPr lang="es-PE"/>
        </a:p>
      </dgm:t>
    </dgm:pt>
    <dgm:pt modelId="{A1D1D514-948C-4FA2-9FA4-4F3E0DE68EE8}" type="sibTrans" cxnId="{EAEF8549-7855-4AA3-B969-48CEEE7A894E}">
      <dgm:prSet/>
      <dgm:spPr/>
      <dgm:t>
        <a:bodyPr/>
        <a:lstStyle/>
        <a:p>
          <a:endParaRPr lang="es-PE"/>
        </a:p>
      </dgm:t>
    </dgm:pt>
    <dgm:pt modelId="{174050A7-8577-4430-B00A-BBD26E3362C6}">
      <dgm:prSet phldrT="[Texto]"/>
      <dgm:spPr/>
      <dgm:t>
        <a:bodyPr/>
        <a:lstStyle/>
        <a:p>
          <a:r>
            <a:rPr lang="es-PE" dirty="0"/>
            <a:t>Omisos a la presentación MEPECO (Matriz)</a:t>
          </a:r>
        </a:p>
        <a:p>
          <a:r>
            <a:rPr lang="es-PE" dirty="0"/>
            <a:t>Actualización en línea de las </a:t>
          </a:r>
          <a:r>
            <a:rPr lang="es-PE" dirty="0" err="1"/>
            <a:t>DDJJs</a:t>
          </a:r>
          <a:r>
            <a:rPr lang="es-PE" dirty="0"/>
            <a:t> -  MEPECO</a:t>
          </a:r>
        </a:p>
      </dgm:t>
    </dgm:pt>
    <dgm:pt modelId="{1C9B2FB6-BFC7-4ED8-9B86-6A03FAF8F9DD}" type="parTrans" cxnId="{0D38566A-9EBB-4574-BF70-C45804A8C729}">
      <dgm:prSet/>
      <dgm:spPr/>
      <dgm:t>
        <a:bodyPr/>
        <a:lstStyle/>
        <a:p>
          <a:endParaRPr lang="es-PE"/>
        </a:p>
      </dgm:t>
    </dgm:pt>
    <dgm:pt modelId="{3C854B13-2152-47E3-A82E-0CEE36E29419}" type="sibTrans" cxnId="{0D38566A-9EBB-4574-BF70-C45804A8C729}">
      <dgm:prSet/>
      <dgm:spPr/>
      <dgm:t>
        <a:bodyPr/>
        <a:lstStyle/>
        <a:p>
          <a:endParaRPr lang="es-PE"/>
        </a:p>
      </dgm:t>
    </dgm:pt>
    <dgm:pt modelId="{6045C501-6B4E-4A06-948D-7AF26051D964}">
      <dgm:prSet phldrT="[Texto]"/>
      <dgm:spPr/>
      <dgm:t>
        <a:bodyPr/>
        <a:lstStyle/>
        <a:p>
          <a:r>
            <a:rPr lang="es-PE" dirty="0"/>
            <a:t>Wilfredo Albarracín / Marcela Vargas</a:t>
          </a:r>
        </a:p>
      </dgm:t>
    </dgm:pt>
    <dgm:pt modelId="{063495F3-7E5E-41D5-A38D-634AA164FBF5}" type="parTrans" cxnId="{D8A0E484-D3FF-4EEB-9FA6-F64852E8F75A}">
      <dgm:prSet/>
      <dgm:spPr/>
      <dgm:t>
        <a:bodyPr/>
        <a:lstStyle/>
        <a:p>
          <a:endParaRPr lang="es-PE"/>
        </a:p>
      </dgm:t>
    </dgm:pt>
    <dgm:pt modelId="{9FC07820-9DF3-457F-A3C4-3161BB3E75D6}" type="sibTrans" cxnId="{D8A0E484-D3FF-4EEB-9FA6-F64852E8F75A}">
      <dgm:prSet/>
      <dgm:spPr/>
      <dgm:t>
        <a:bodyPr/>
        <a:lstStyle/>
        <a:p>
          <a:endParaRPr lang="es-PE"/>
        </a:p>
      </dgm:t>
    </dgm:pt>
    <dgm:pt modelId="{C29F2319-BA09-43EC-A039-7FD53DE07E78}">
      <dgm:prSet phldrT="[Texto]"/>
      <dgm:spPr/>
      <dgm:t>
        <a:bodyPr/>
        <a:lstStyle/>
        <a:p>
          <a:r>
            <a:rPr lang="es-PE" dirty="0"/>
            <a:t>Wilfredo Albarracín / Marcela Vargas</a:t>
          </a:r>
        </a:p>
      </dgm:t>
    </dgm:pt>
    <dgm:pt modelId="{6C424665-C50D-4370-948D-895C2DBD97D8}" type="parTrans" cxnId="{4FBC9478-74A4-4B20-AE8C-E8E184C74733}">
      <dgm:prSet/>
      <dgm:spPr/>
      <dgm:t>
        <a:bodyPr/>
        <a:lstStyle/>
        <a:p>
          <a:endParaRPr lang="es-PE"/>
        </a:p>
      </dgm:t>
    </dgm:pt>
    <dgm:pt modelId="{5B5AD124-5082-4D8B-8825-1E8B5C83217E}" type="sibTrans" cxnId="{4FBC9478-74A4-4B20-AE8C-E8E184C74733}">
      <dgm:prSet/>
      <dgm:spPr/>
      <dgm:t>
        <a:bodyPr/>
        <a:lstStyle/>
        <a:p>
          <a:endParaRPr lang="es-PE"/>
        </a:p>
      </dgm:t>
    </dgm:pt>
    <dgm:pt modelId="{C1E691ED-694D-4AE1-8EF5-27ECFE4D9CFA}">
      <dgm:prSet phldrT="[Texto]"/>
      <dgm:spPr/>
      <dgm:t>
        <a:bodyPr/>
        <a:lstStyle/>
        <a:p>
          <a:r>
            <a:rPr lang="es-PE" dirty="0"/>
            <a:t>Registro</a:t>
          </a:r>
        </a:p>
      </dgm:t>
    </dgm:pt>
    <dgm:pt modelId="{51A1EF86-47D6-4358-8EEE-B9D836A0BA69}" type="parTrans" cxnId="{6C68DE14-F760-48FE-AC19-74372D94AFA6}">
      <dgm:prSet/>
      <dgm:spPr/>
      <dgm:t>
        <a:bodyPr/>
        <a:lstStyle/>
        <a:p>
          <a:endParaRPr lang="es-PE"/>
        </a:p>
      </dgm:t>
    </dgm:pt>
    <dgm:pt modelId="{E98DF99E-1852-4EB4-9E91-30D2C8138581}" type="sibTrans" cxnId="{6C68DE14-F760-48FE-AC19-74372D94AFA6}">
      <dgm:prSet/>
      <dgm:spPr/>
      <dgm:t>
        <a:bodyPr/>
        <a:lstStyle/>
        <a:p>
          <a:endParaRPr lang="es-PE"/>
        </a:p>
      </dgm:t>
    </dgm:pt>
    <dgm:pt modelId="{CE1E9537-9E5A-4FD8-8B69-C10C2DA4A36F}">
      <dgm:prSet phldrT="[Texto]"/>
      <dgm:spPr/>
      <dgm:t>
        <a:bodyPr/>
        <a:lstStyle/>
        <a:p>
          <a:r>
            <a:rPr lang="es-PE" dirty="0"/>
            <a:t>Estado del Contribuyente / Cond. de Domicilio (Matriz)</a:t>
          </a:r>
        </a:p>
        <a:p>
          <a:r>
            <a:rPr lang="es-PE" dirty="0"/>
            <a:t>Restricción a la Autorización de CP Físico</a:t>
          </a:r>
        </a:p>
      </dgm:t>
    </dgm:pt>
    <dgm:pt modelId="{520037F4-3F78-49D1-A1B5-5E6B6E2084FD}" type="parTrans" cxnId="{73AF489D-DCBC-49D5-A3A4-2E97E5CB4B7F}">
      <dgm:prSet/>
      <dgm:spPr/>
      <dgm:t>
        <a:bodyPr/>
        <a:lstStyle/>
        <a:p>
          <a:endParaRPr lang="es-PE"/>
        </a:p>
      </dgm:t>
    </dgm:pt>
    <dgm:pt modelId="{07FC52E2-38D0-4442-BD38-53DD1E901086}" type="sibTrans" cxnId="{73AF489D-DCBC-49D5-A3A4-2E97E5CB4B7F}">
      <dgm:prSet/>
      <dgm:spPr/>
      <dgm:t>
        <a:bodyPr/>
        <a:lstStyle/>
        <a:p>
          <a:endParaRPr lang="es-PE"/>
        </a:p>
      </dgm:t>
    </dgm:pt>
    <dgm:pt modelId="{A78E393E-6C77-4463-A58F-CD382D73C0FE}" type="pres">
      <dgm:prSet presAssocID="{A289AC5C-DCDD-4776-86D8-45AF33B64C8B}" presName="Name0" presStyleCnt="0">
        <dgm:presLayoutVars>
          <dgm:chPref val="1"/>
          <dgm:dir/>
          <dgm:animOne val="branch"/>
          <dgm:animLvl val="lvl"/>
          <dgm:resizeHandles/>
        </dgm:presLayoutVars>
      </dgm:prSet>
      <dgm:spPr/>
      <dgm:t>
        <a:bodyPr/>
        <a:lstStyle/>
        <a:p>
          <a:endParaRPr lang="es-PE"/>
        </a:p>
      </dgm:t>
    </dgm:pt>
    <dgm:pt modelId="{813A88DC-7F37-4D2D-B2D3-97B48078B92F}" type="pres">
      <dgm:prSet presAssocID="{51F09DA6-932B-4782-896F-C9CA0595B049}" presName="vertOne" presStyleCnt="0"/>
      <dgm:spPr/>
    </dgm:pt>
    <dgm:pt modelId="{7AEF32A7-17CE-4B7B-829A-1B338975B341}" type="pres">
      <dgm:prSet presAssocID="{51F09DA6-932B-4782-896F-C9CA0595B049}" presName="txOne" presStyleLbl="node0" presStyleIdx="0" presStyleCnt="3">
        <dgm:presLayoutVars>
          <dgm:chPref val="3"/>
        </dgm:presLayoutVars>
      </dgm:prSet>
      <dgm:spPr/>
      <dgm:t>
        <a:bodyPr/>
        <a:lstStyle/>
        <a:p>
          <a:endParaRPr lang="es-PE"/>
        </a:p>
      </dgm:t>
    </dgm:pt>
    <dgm:pt modelId="{53CF8DDD-1279-4673-BAA7-B3AAA5352039}" type="pres">
      <dgm:prSet presAssocID="{51F09DA6-932B-4782-896F-C9CA0595B049}" presName="parTransOne" presStyleCnt="0"/>
      <dgm:spPr/>
    </dgm:pt>
    <dgm:pt modelId="{64E3A655-62AC-4DA4-A9D4-F1E3F13EC3C6}" type="pres">
      <dgm:prSet presAssocID="{51F09DA6-932B-4782-896F-C9CA0595B049}" presName="horzOne" presStyleCnt="0"/>
      <dgm:spPr/>
    </dgm:pt>
    <dgm:pt modelId="{E86EF974-476D-4EC9-BE15-D9F2D7DCEA54}" type="pres">
      <dgm:prSet presAssocID="{174050A7-8577-4430-B00A-BBD26E3362C6}" presName="vertTwo" presStyleCnt="0"/>
      <dgm:spPr/>
    </dgm:pt>
    <dgm:pt modelId="{2C135EC1-15EA-48BB-B3FB-FF94EC2D8472}" type="pres">
      <dgm:prSet presAssocID="{174050A7-8577-4430-B00A-BBD26E3362C6}" presName="txTwo" presStyleLbl="node2" presStyleIdx="0" presStyleCnt="3">
        <dgm:presLayoutVars>
          <dgm:chPref val="3"/>
        </dgm:presLayoutVars>
      </dgm:prSet>
      <dgm:spPr/>
      <dgm:t>
        <a:bodyPr/>
        <a:lstStyle/>
        <a:p>
          <a:endParaRPr lang="es-PE"/>
        </a:p>
      </dgm:t>
    </dgm:pt>
    <dgm:pt modelId="{3ACC53F5-2865-4449-9AF0-060CA04CE414}" type="pres">
      <dgm:prSet presAssocID="{174050A7-8577-4430-B00A-BBD26E3362C6}" presName="parTransTwo" presStyleCnt="0"/>
      <dgm:spPr/>
    </dgm:pt>
    <dgm:pt modelId="{2F138C23-A574-48F6-81E6-1369DE69056C}" type="pres">
      <dgm:prSet presAssocID="{174050A7-8577-4430-B00A-BBD26E3362C6}" presName="horzTwo" presStyleCnt="0"/>
      <dgm:spPr/>
    </dgm:pt>
    <dgm:pt modelId="{A3AED2E9-4C1B-419D-913B-01C847983A4F}" type="pres">
      <dgm:prSet presAssocID="{6045C501-6B4E-4A06-948D-7AF26051D964}" presName="vertThree" presStyleCnt="0"/>
      <dgm:spPr/>
    </dgm:pt>
    <dgm:pt modelId="{DFACD8F4-1996-450B-BC49-E2C983DD46AA}" type="pres">
      <dgm:prSet presAssocID="{6045C501-6B4E-4A06-948D-7AF26051D964}" presName="txThree" presStyleLbl="node3" presStyleIdx="0" presStyleCnt="3">
        <dgm:presLayoutVars>
          <dgm:chPref val="3"/>
        </dgm:presLayoutVars>
      </dgm:prSet>
      <dgm:spPr/>
      <dgm:t>
        <a:bodyPr/>
        <a:lstStyle/>
        <a:p>
          <a:endParaRPr lang="es-PE"/>
        </a:p>
      </dgm:t>
    </dgm:pt>
    <dgm:pt modelId="{4459B9B1-8989-4B91-A09A-630ACFEE0DCA}" type="pres">
      <dgm:prSet presAssocID="{6045C501-6B4E-4A06-948D-7AF26051D964}" presName="horzThree" presStyleCnt="0"/>
      <dgm:spPr/>
    </dgm:pt>
    <dgm:pt modelId="{38DF6138-7DBC-4FA4-9CE2-EE330B89141E}" type="pres">
      <dgm:prSet presAssocID="{811ADA51-20BA-4A35-B7D0-B34416657BD2}" presName="sibSpaceOne" presStyleCnt="0"/>
      <dgm:spPr/>
    </dgm:pt>
    <dgm:pt modelId="{F63D0030-D04E-41C2-AA70-335FA3145A9F}" type="pres">
      <dgm:prSet presAssocID="{9BCCF806-4949-46BB-A71E-634F2E624C48}" presName="vertOne" presStyleCnt="0"/>
      <dgm:spPr/>
    </dgm:pt>
    <dgm:pt modelId="{D5B602A8-EED3-4E5D-9AF2-C330E79347F2}" type="pres">
      <dgm:prSet presAssocID="{9BCCF806-4949-46BB-A71E-634F2E624C48}" presName="txOne" presStyleLbl="node0" presStyleIdx="1" presStyleCnt="3">
        <dgm:presLayoutVars>
          <dgm:chPref val="3"/>
        </dgm:presLayoutVars>
      </dgm:prSet>
      <dgm:spPr/>
      <dgm:t>
        <a:bodyPr/>
        <a:lstStyle/>
        <a:p>
          <a:endParaRPr lang="es-PE"/>
        </a:p>
      </dgm:t>
    </dgm:pt>
    <dgm:pt modelId="{597269DF-DCFB-44DA-B2BB-588A05ED4F89}" type="pres">
      <dgm:prSet presAssocID="{9BCCF806-4949-46BB-A71E-634F2E624C48}" presName="parTransOne" presStyleCnt="0"/>
      <dgm:spPr/>
    </dgm:pt>
    <dgm:pt modelId="{42574A5C-AD49-4303-9EC1-463BE893A175}" type="pres">
      <dgm:prSet presAssocID="{9BCCF806-4949-46BB-A71E-634F2E624C48}" presName="horzOne" presStyleCnt="0"/>
      <dgm:spPr/>
    </dgm:pt>
    <dgm:pt modelId="{EFF70EB4-4BB2-4537-A810-A007B8A6A002}" type="pres">
      <dgm:prSet presAssocID="{727C4086-48A8-4C92-9115-F0FBAF0D6C9D}" presName="vertTwo" presStyleCnt="0"/>
      <dgm:spPr/>
    </dgm:pt>
    <dgm:pt modelId="{004842DE-3501-4EC8-B1CF-4FB17DAA820C}" type="pres">
      <dgm:prSet presAssocID="{727C4086-48A8-4C92-9115-F0FBAF0D6C9D}" presName="txTwo" presStyleLbl="node2" presStyleIdx="1" presStyleCnt="3">
        <dgm:presLayoutVars>
          <dgm:chPref val="3"/>
        </dgm:presLayoutVars>
      </dgm:prSet>
      <dgm:spPr/>
      <dgm:t>
        <a:bodyPr/>
        <a:lstStyle/>
        <a:p>
          <a:endParaRPr lang="es-PE"/>
        </a:p>
      </dgm:t>
    </dgm:pt>
    <dgm:pt modelId="{0C450429-020B-4650-9859-90397060EF5D}" type="pres">
      <dgm:prSet presAssocID="{727C4086-48A8-4C92-9115-F0FBAF0D6C9D}" presName="parTransTwo" presStyleCnt="0"/>
      <dgm:spPr/>
    </dgm:pt>
    <dgm:pt modelId="{1F742A03-0CB3-47DE-93B7-94D01B10466D}" type="pres">
      <dgm:prSet presAssocID="{727C4086-48A8-4C92-9115-F0FBAF0D6C9D}" presName="horzTwo" presStyleCnt="0"/>
      <dgm:spPr/>
    </dgm:pt>
    <dgm:pt modelId="{24A66152-4300-41A5-BB12-04C9B7C1315B}" type="pres">
      <dgm:prSet presAssocID="{D628707A-911A-4AD7-82D1-274FADDA7D63}" presName="vertThree" presStyleCnt="0"/>
      <dgm:spPr/>
    </dgm:pt>
    <dgm:pt modelId="{EF53CE44-510D-45EE-90E8-27387DB960B2}" type="pres">
      <dgm:prSet presAssocID="{D628707A-911A-4AD7-82D1-274FADDA7D63}" presName="txThree" presStyleLbl="node3" presStyleIdx="1" presStyleCnt="3">
        <dgm:presLayoutVars>
          <dgm:chPref val="3"/>
        </dgm:presLayoutVars>
      </dgm:prSet>
      <dgm:spPr/>
      <dgm:t>
        <a:bodyPr/>
        <a:lstStyle/>
        <a:p>
          <a:endParaRPr lang="es-PE"/>
        </a:p>
      </dgm:t>
    </dgm:pt>
    <dgm:pt modelId="{CD334082-FA60-4189-B711-9D8CB804390A}" type="pres">
      <dgm:prSet presAssocID="{D628707A-911A-4AD7-82D1-274FADDA7D63}" presName="horzThree" presStyleCnt="0"/>
      <dgm:spPr/>
    </dgm:pt>
    <dgm:pt modelId="{3413ACAB-9C45-4831-8F75-AE18F1B97BBA}" type="pres">
      <dgm:prSet presAssocID="{A1D1D514-948C-4FA2-9FA4-4F3E0DE68EE8}" presName="sibSpaceOne" presStyleCnt="0"/>
      <dgm:spPr/>
    </dgm:pt>
    <dgm:pt modelId="{A272F4CA-76B8-42E2-BA31-2CA31250224D}" type="pres">
      <dgm:prSet presAssocID="{C1E691ED-694D-4AE1-8EF5-27ECFE4D9CFA}" presName="vertOne" presStyleCnt="0"/>
      <dgm:spPr/>
    </dgm:pt>
    <dgm:pt modelId="{AC955F4A-A52C-40DB-88F4-CA9902D1714A}" type="pres">
      <dgm:prSet presAssocID="{C1E691ED-694D-4AE1-8EF5-27ECFE4D9CFA}" presName="txOne" presStyleLbl="node0" presStyleIdx="2" presStyleCnt="3">
        <dgm:presLayoutVars>
          <dgm:chPref val="3"/>
        </dgm:presLayoutVars>
      </dgm:prSet>
      <dgm:spPr/>
      <dgm:t>
        <a:bodyPr/>
        <a:lstStyle/>
        <a:p>
          <a:endParaRPr lang="es-PE"/>
        </a:p>
      </dgm:t>
    </dgm:pt>
    <dgm:pt modelId="{E146DF3D-02AD-4A58-8CFA-4618B5D208D2}" type="pres">
      <dgm:prSet presAssocID="{C1E691ED-694D-4AE1-8EF5-27ECFE4D9CFA}" presName="parTransOne" presStyleCnt="0"/>
      <dgm:spPr/>
    </dgm:pt>
    <dgm:pt modelId="{675CC291-51C2-4100-9651-64273635E56F}" type="pres">
      <dgm:prSet presAssocID="{C1E691ED-694D-4AE1-8EF5-27ECFE4D9CFA}" presName="horzOne" presStyleCnt="0"/>
      <dgm:spPr/>
    </dgm:pt>
    <dgm:pt modelId="{0E6054B7-F00E-4F85-B561-6881546E37A4}" type="pres">
      <dgm:prSet presAssocID="{CE1E9537-9E5A-4FD8-8B69-C10C2DA4A36F}" presName="vertTwo" presStyleCnt="0"/>
      <dgm:spPr/>
    </dgm:pt>
    <dgm:pt modelId="{C0DECA72-7967-4635-94D0-A4D6D534EAF2}" type="pres">
      <dgm:prSet presAssocID="{CE1E9537-9E5A-4FD8-8B69-C10C2DA4A36F}" presName="txTwo" presStyleLbl="node2" presStyleIdx="2" presStyleCnt="3">
        <dgm:presLayoutVars>
          <dgm:chPref val="3"/>
        </dgm:presLayoutVars>
      </dgm:prSet>
      <dgm:spPr/>
      <dgm:t>
        <a:bodyPr/>
        <a:lstStyle/>
        <a:p>
          <a:endParaRPr lang="es-PE"/>
        </a:p>
      </dgm:t>
    </dgm:pt>
    <dgm:pt modelId="{A1B32F07-7D91-42DC-9A80-FDC2B3A35109}" type="pres">
      <dgm:prSet presAssocID="{CE1E9537-9E5A-4FD8-8B69-C10C2DA4A36F}" presName="parTransTwo" presStyleCnt="0"/>
      <dgm:spPr/>
    </dgm:pt>
    <dgm:pt modelId="{96FF9C60-934A-4592-B508-09E0724133CF}" type="pres">
      <dgm:prSet presAssocID="{CE1E9537-9E5A-4FD8-8B69-C10C2DA4A36F}" presName="horzTwo" presStyleCnt="0"/>
      <dgm:spPr/>
    </dgm:pt>
    <dgm:pt modelId="{DCA909F2-0FA8-4F27-8295-4778FE77258F}" type="pres">
      <dgm:prSet presAssocID="{C29F2319-BA09-43EC-A039-7FD53DE07E78}" presName="vertThree" presStyleCnt="0"/>
      <dgm:spPr/>
    </dgm:pt>
    <dgm:pt modelId="{2CD69DA4-623C-4527-8CF0-C03E25CFD0F0}" type="pres">
      <dgm:prSet presAssocID="{C29F2319-BA09-43EC-A039-7FD53DE07E78}" presName="txThree" presStyleLbl="node3" presStyleIdx="2" presStyleCnt="3">
        <dgm:presLayoutVars>
          <dgm:chPref val="3"/>
        </dgm:presLayoutVars>
      </dgm:prSet>
      <dgm:spPr/>
      <dgm:t>
        <a:bodyPr/>
        <a:lstStyle/>
        <a:p>
          <a:endParaRPr lang="es-PE"/>
        </a:p>
      </dgm:t>
    </dgm:pt>
    <dgm:pt modelId="{7CB3BAB3-F873-4C23-A5DC-BF55B8F2442A}" type="pres">
      <dgm:prSet presAssocID="{C29F2319-BA09-43EC-A039-7FD53DE07E78}" presName="horzThree" presStyleCnt="0"/>
      <dgm:spPr/>
    </dgm:pt>
  </dgm:ptLst>
  <dgm:cxnLst>
    <dgm:cxn modelId="{DDF46C36-5A15-49FC-9A44-B0BE298B9208}" type="presOf" srcId="{9BCCF806-4949-46BB-A71E-634F2E624C48}" destId="{D5B602A8-EED3-4E5D-9AF2-C330E79347F2}" srcOrd="0" destOrd="0" presId="urn:microsoft.com/office/officeart/2005/8/layout/hierarchy4"/>
    <dgm:cxn modelId="{489DB39C-D266-483A-AF7F-6673B21F51B7}" type="presOf" srcId="{C29F2319-BA09-43EC-A039-7FD53DE07E78}" destId="{2CD69DA4-623C-4527-8CF0-C03E25CFD0F0}" srcOrd="0" destOrd="0" presId="urn:microsoft.com/office/officeart/2005/8/layout/hierarchy4"/>
    <dgm:cxn modelId="{FA5D4819-5BBE-4C92-B3D4-6C560A1C3D9D}" srcId="{9BCCF806-4949-46BB-A71E-634F2E624C48}" destId="{727C4086-48A8-4C92-9115-F0FBAF0D6C9D}" srcOrd="0" destOrd="0" parTransId="{0D4EFB6F-3232-4C53-BC6F-4BC3D50CCFC8}" sibTransId="{EC961040-1A85-4F52-8BC0-230BD7159751}"/>
    <dgm:cxn modelId="{D8A0E484-D3FF-4EEB-9FA6-F64852E8F75A}" srcId="{174050A7-8577-4430-B00A-BBD26E3362C6}" destId="{6045C501-6B4E-4A06-948D-7AF26051D964}" srcOrd="0" destOrd="0" parTransId="{063495F3-7E5E-41D5-A38D-634AA164FBF5}" sibTransId="{9FC07820-9DF3-457F-A3C4-3161BB3E75D6}"/>
    <dgm:cxn modelId="{73AF489D-DCBC-49D5-A3A4-2E97E5CB4B7F}" srcId="{C1E691ED-694D-4AE1-8EF5-27ECFE4D9CFA}" destId="{CE1E9537-9E5A-4FD8-8B69-C10C2DA4A36F}" srcOrd="0" destOrd="0" parTransId="{520037F4-3F78-49D1-A1B5-5E6B6E2084FD}" sibTransId="{07FC52E2-38D0-4442-BD38-53DD1E901086}"/>
    <dgm:cxn modelId="{4038D06E-7E28-4EC5-8B1B-F1E9D3F49730}" type="presOf" srcId="{CE1E9537-9E5A-4FD8-8B69-C10C2DA4A36F}" destId="{C0DECA72-7967-4635-94D0-A4D6D534EAF2}" srcOrd="0" destOrd="0" presId="urn:microsoft.com/office/officeart/2005/8/layout/hierarchy4"/>
    <dgm:cxn modelId="{51B7B2FD-DC79-4086-AD26-7C18A6A387D3}" type="presOf" srcId="{6045C501-6B4E-4A06-948D-7AF26051D964}" destId="{DFACD8F4-1996-450B-BC49-E2C983DD46AA}" srcOrd="0" destOrd="0" presId="urn:microsoft.com/office/officeart/2005/8/layout/hierarchy4"/>
    <dgm:cxn modelId="{C7282E11-58A8-4996-A89A-F5DAB3C8EA0B}" type="presOf" srcId="{727C4086-48A8-4C92-9115-F0FBAF0D6C9D}" destId="{004842DE-3501-4EC8-B1CF-4FB17DAA820C}" srcOrd="0" destOrd="0" presId="urn:microsoft.com/office/officeart/2005/8/layout/hierarchy4"/>
    <dgm:cxn modelId="{6C68DE14-F760-48FE-AC19-74372D94AFA6}" srcId="{A289AC5C-DCDD-4776-86D8-45AF33B64C8B}" destId="{C1E691ED-694D-4AE1-8EF5-27ECFE4D9CFA}" srcOrd="2" destOrd="0" parTransId="{51A1EF86-47D6-4358-8EEE-B9D836A0BA69}" sibTransId="{E98DF99E-1852-4EB4-9E91-30D2C8138581}"/>
    <dgm:cxn modelId="{CDFFE51E-DB17-43E1-B460-03F5491F2B1D}" type="presOf" srcId="{C1E691ED-694D-4AE1-8EF5-27ECFE4D9CFA}" destId="{AC955F4A-A52C-40DB-88F4-CA9902D1714A}" srcOrd="0" destOrd="0" presId="urn:microsoft.com/office/officeart/2005/8/layout/hierarchy4"/>
    <dgm:cxn modelId="{0D38566A-9EBB-4574-BF70-C45804A8C729}" srcId="{51F09DA6-932B-4782-896F-C9CA0595B049}" destId="{174050A7-8577-4430-B00A-BBD26E3362C6}" srcOrd="0" destOrd="0" parTransId="{1C9B2FB6-BFC7-4ED8-9B86-6A03FAF8F9DD}" sibTransId="{3C854B13-2152-47E3-A82E-0CEE36E29419}"/>
    <dgm:cxn modelId="{30DE76FE-186B-46D4-9E3F-6C87D85823C1}" type="presOf" srcId="{A289AC5C-DCDD-4776-86D8-45AF33B64C8B}" destId="{A78E393E-6C77-4463-A58F-CD382D73C0FE}" srcOrd="0" destOrd="0" presId="urn:microsoft.com/office/officeart/2005/8/layout/hierarchy4"/>
    <dgm:cxn modelId="{25E58FE3-7815-47EA-9FBC-0FA2E2A07AEA}" type="presOf" srcId="{51F09DA6-932B-4782-896F-C9CA0595B049}" destId="{7AEF32A7-17CE-4B7B-829A-1B338975B341}" srcOrd="0" destOrd="0" presId="urn:microsoft.com/office/officeart/2005/8/layout/hierarchy4"/>
    <dgm:cxn modelId="{EC3A0902-A04B-4BA5-A598-C790B0F17144}" srcId="{727C4086-48A8-4C92-9115-F0FBAF0D6C9D}" destId="{D628707A-911A-4AD7-82D1-274FADDA7D63}" srcOrd="0" destOrd="0" parTransId="{9CB275B3-472A-4E3F-8AF3-E35246A0FC68}" sibTransId="{B1099767-0323-4098-BC55-DAF96758A7D5}"/>
    <dgm:cxn modelId="{4FBC9478-74A4-4B20-AE8C-E8E184C74733}" srcId="{CE1E9537-9E5A-4FD8-8B69-C10C2DA4A36F}" destId="{C29F2319-BA09-43EC-A039-7FD53DE07E78}" srcOrd="0" destOrd="0" parTransId="{6C424665-C50D-4370-948D-895C2DBD97D8}" sibTransId="{5B5AD124-5082-4D8B-8825-1E8B5C83217E}"/>
    <dgm:cxn modelId="{EAEF8549-7855-4AA3-B969-48CEEE7A894E}" srcId="{A289AC5C-DCDD-4776-86D8-45AF33B64C8B}" destId="{9BCCF806-4949-46BB-A71E-634F2E624C48}" srcOrd="1" destOrd="0" parTransId="{0FAAD5CA-08CE-4D81-BE2B-57C62DDBE1A5}" sibTransId="{A1D1D514-948C-4FA2-9FA4-4F3E0DE68EE8}"/>
    <dgm:cxn modelId="{65CCBB69-3A3C-444A-9F48-1AA1FD9A005E}" srcId="{A289AC5C-DCDD-4776-86D8-45AF33B64C8B}" destId="{51F09DA6-932B-4782-896F-C9CA0595B049}" srcOrd="0" destOrd="0" parTransId="{8E6A6586-AE9C-40C7-B02D-7A94FA7C136D}" sibTransId="{811ADA51-20BA-4A35-B7D0-B34416657BD2}"/>
    <dgm:cxn modelId="{2E26543F-EA5F-49EC-B2DC-9B95F81C8E7D}" type="presOf" srcId="{D628707A-911A-4AD7-82D1-274FADDA7D63}" destId="{EF53CE44-510D-45EE-90E8-27387DB960B2}" srcOrd="0" destOrd="0" presId="urn:microsoft.com/office/officeart/2005/8/layout/hierarchy4"/>
    <dgm:cxn modelId="{728DB43F-7417-4E98-B836-8D69A3817C69}" type="presOf" srcId="{174050A7-8577-4430-B00A-BBD26E3362C6}" destId="{2C135EC1-15EA-48BB-B3FB-FF94EC2D8472}" srcOrd="0" destOrd="0" presId="urn:microsoft.com/office/officeart/2005/8/layout/hierarchy4"/>
    <dgm:cxn modelId="{75BD56DF-00A6-4253-B066-9BED02E13512}" type="presParOf" srcId="{A78E393E-6C77-4463-A58F-CD382D73C0FE}" destId="{813A88DC-7F37-4D2D-B2D3-97B48078B92F}" srcOrd="0" destOrd="0" presId="urn:microsoft.com/office/officeart/2005/8/layout/hierarchy4"/>
    <dgm:cxn modelId="{BD0531BE-6656-4BA6-B4EC-58D0FAB5B923}" type="presParOf" srcId="{813A88DC-7F37-4D2D-B2D3-97B48078B92F}" destId="{7AEF32A7-17CE-4B7B-829A-1B338975B341}" srcOrd="0" destOrd="0" presId="urn:microsoft.com/office/officeart/2005/8/layout/hierarchy4"/>
    <dgm:cxn modelId="{B1661D10-5823-49D1-B2BB-2154755021B1}" type="presParOf" srcId="{813A88DC-7F37-4D2D-B2D3-97B48078B92F}" destId="{53CF8DDD-1279-4673-BAA7-B3AAA5352039}" srcOrd="1" destOrd="0" presId="urn:microsoft.com/office/officeart/2005/8/layout/hierarchy4"/>
    <dgm:cxn modelId="{327E97DE-124C-4A08-BCCF-5C93B77E89BB}" type="presParOf" srcId="{813A88DC-7F37-4D2D-B2D3-97B48078B92F}" destId="{64E3A655-62AC-4DA4-A9D4-F1E3F13EC3C6}" srcOrd="2" destOrd="0" presId="urn:microsoft.com/office/officeart/2005/8/layout/hierarchy4"/>
    <dgm:cxn modelId="{2483C114-F8B3-46AD-AE3E-4E1B3F7726FE}" type="presParOf" srcId="{64E3A655-62AC-4DA4-A9D4-F1E3F13EC3C6}" destId="{E86EF974-476D-4EC9-BE15-D9F2D7DCEA54}" srcOrd="0" destOrd="0" presId="urn:microsoft.com/office/officeart/2005/8/layout/hierarchy4"/>
    <dgm:cxn modelId="{3CAD4004-F015-41A5-A6FD-E313B083CB53}" type="presParOf" srcId="{E86EF974-476D-4EC9-BE15-D9F2D7DCEA54}" destId="{2C135EC1-15EA-48BB-B3FB-FF94EC2D8472}" srcOrd="0" destOrd="0" presId="urn:microsoft.com/office/officeart/2005/8/layout/hierarchy4"/>
    <dgm:cxn modelId="{B864C6A4-A499-4A2D-A451-8E3315DFA7C9}" type="presParOf" srcId="{E86EF974-476D-4EC9-BE15-D9F2D7DCEA54}" destId="{3ACC53F5-2865-4449-9AF0-060CA04CE414}" srcOrd="1" destOrd="0" presId="urn:microsoft.com/office/officeart/2005/8/layout/hierarchy4"/>
    <dgm:cxn modelId="{4BDE7E8C-57B3-4A5B-B3FE-42A8AD92CFF7}" type="presParOf" srcId="{E86EF974-476D-4EC9-BE15-D9F2D7DCEA54}" destId="{2F138C23-A574-48F6-81E6-1369DE69056C}" srcOrd="2" destOrd="0" presId="urn:microsoft.com/office/officeart/2005/8/layout/hierarchy4"/>
    <dgm:cxn modelId="{6B8453AB-D043-4785-823B-44F546D6B0B1}" type="presParOf" srcId="{2F138C23-A574-48F6-81E6-1369DE69056C}" destId="{A3AED2E9-4C1B-419D-913B-01C847983A4F}" srcOrd="0" destOrd="0" presId="urn:microsoft.com/office/officeart/2005/8/layout/hierarchy4"/>
    <dgm:cxn modelId="{9EBD9E1A-80D4-4019-AF02-C74392E543AA}" type="presParOf" srcId="{A3AED2E9-4C1B-419D-913B-01C847983A4F}" destId="{DFACD8F4-1996-450B-BC49-E2C983DD46AA}" srcOrd="0" destOrd="0" presId="urn:microsoft.com/office/officeart/2005/8/layout/hierarchy4"/>
    <dgm:cxn modelId="{9EFFB70E-F060-45A4-9E11-F579349DEE2D}" type="presParOf" srcId="{A3AED2E9-4C1B-419D-913B-01C847983A4F}" destId="{4459B9B1-8989-4B91-A09A-630ACFEE0DCA}" srcOrd="1" destOrd="0" presId="urn:microsoft.com/office/officeart/2005/8/layout/hierarchy4"/>
    <dgm:cxn modelId="{C5C5A1DF-E5D7-4581-A653-504AF7E5E2BE}" type="presParOf" srcId="{A78E393E-6C77-4463-A58F-CD382D73C0FE}" destId="{38DF6138-7DBC-4FA4-9CE2-EE330B89141E}" srcOrd="1" destOrd="0" presId="urn:microsoft.com/office/officeart/2005/8/layout/hierarchy4"/>
    <dgm:cxn modelId="{176B9312-AE7A-42A3-AA41-F070B1803218}" type="presParOf" srcId="{A78E393E-6C77-4463-A58F-CD382D73C0FE}" destId="{F63D0030-D04E-41C2-AA70-335FA3145A9F}" srcOrd="2" destOrd="0" presId="urn:microsoft.com/office/officeart/2005/8/layout/hierarchy4"/>
    <dgm:cxn modelId="{49E92BEE-0682-4F85-8EF6-59268507460E}" type="presParOf" srcId="{F63D0030-D04E-41C2-AA70-335FA3145A9F}" destId="{D5B602A8-EED3-4E5D-9AF2-C330E79347F2}" srcOrd="0" destOrd="0" presId="urn:microsoft.com/office/officeart/2005/8/layout/hierarchy4"/>
    <dgm:cxn modelId="{6F519BAF-F0C7-4374-B7CE-6217B43D55AF}" type="presParOf" srcId="{F63D0030-D04E-41C2-AA70-335FA3145A9F}" destId="{597269DF-DCFB-44DA-B2BB-588A05ED4F89}" srcOrd="1" destOrd="0" presId="urn:microsoft.com/office/officeart/2005/8/layout/hierarchy4"/>
    <dgm:cxn modelId="{32275DC7-C4B2-4358-BBF1-29EFE4FEC309}" type="presParOf" srcId="{F63D0030-D04E-41C2-AA70-335FA3145A9F}" destId="{42574A5C-AD49-4303-9EC1-463BE893A175}" srcOrd="2" destOrd="0" presId="urn:microsoft.com/office/officeart/2005/8/layout/hierarchy4"/>
    <dgm:cxn modelId="{DF7EC773-6D49-4EE4-8AB1-580800EAA719}" type="presParOf" srcId="{42574A5C-AD49-4303-9EC1-463BE893A175}" destId="{EFF70EB4-4BB2-4537-A810-A007B8A6A002}" srcOrd="0" destOrd="0" presId="urn:microsoft.com/office/officeart/2005/8/layout/hierarchy4"/>
    <dgm:cxn modelId="{8066AC21-4D90-4344-8054-D11885412DE0}" type="presParOf" srcId="{EFF70EB4-4BB2-4537-A810-A007B8A6A002}" destId="{004842DE-3501-4EC8-B1CF-4FB17DAA820C}" srcOrd="0" destOrd="0" presId="urn:microsoft.com/office/officeart/2005/8/layout/hierarchy4"/>
    <dgm:cxn modelId="{0B0D0525-82B8-4E6C-B667-61184A9776AC}" type="presParOf" srcId="{EFF70EB4-4BB2-4537-A810-A007B8A6A002}" destId="{0C450429-020B-4650-9859-90397060EF5D}" srcOrd="1" destOrd="0" presId="urn:microsoft.com/office/officeart/2005/8/layout/hierarchy4"/>
    <dgm:cxn modelId="{C9859B85-A8E1-4D8E-962E-1A27D7570A21}" type="presParOf" srcId="{EFF70EB4-4BB2-4537-A810-A007B8A6A002}" destId="{1F742A03-0CB3-47DE-93B7-94D01B10466D}" srcOrd="2" destOrd="0" presId="urn:microsoft.com/office/officeart/2005/8/layout/hierarchy4"/>
    <dgm:cxn modelId="{11CBF46E-F290-44AF-8234-F672D3EAEA1A}" type="presParOf" srcId="{1F742A03-0CB3-47DE-93B7-94D01B10466D}" destId="{24A66152-4300-41A5-BB12-04C9B7C1315B}" srcOrd="0" destOrd="0" presId="urn:microsoft.com/office/officeart/2005/8/layout/hierarchy4"/>
    <dgm:cxn modelId="{8FC13442-C25B-476C-ADC9-520FB89D7421}" type="presParOf" srcId="{24A66152-4300-41A5-BB12-04C9B7C1315B}" destId="{EF53CE44-510D-45EE-90E8-27387DB960B2}" srcOrd="0" destOrd="0" presId="urn:microsoft.com/office/officeart/2005/8/layout/hierarchy4"/>
    <dgm:cxn modelId="{6D3F2FA3-D27E-44E2-9708-52296B9FA6CE}" type="presParOf" srcId="{24A66152-4300-41A5-BB12-04C9B7C1315B}" destId="{CD334082-FA60-4189-B711-9D8CB804390A}" srcOrd="1" destOrd="0" presId="urn:microsoft.com/office/officeart/2005/8/layout/hierarchy4"/>
    <dgm:cxn modelId="{45719294-2510-4DC4-8A8B-A6AB173E8A80}" type="presParOf" srcId="{A78E393E-6C77-4463-A58F-CD382D73C0FE}" destId="{3413ACAB-9C45-4831-8F75-AE18F1B97BBA}" srcOrd="3" destOrd="0" presId="urn:microsoft.com/office/officeart/2005/8/layout/hierarchy4"/>
    <dgm:cxn modelId="{8093B8DF-ECED-4687-865D-78E67801144B}" type="presParOf" srcId="{A78E393E-6C77-4463-A58F-CD382D73C0FE}" destId="{A272F4CA-76B8-42E2-BA31-2CA31250224D}" srcOrd="4" destOrd="0" presId="urn:microsoft.com/office/officeart/2005/8/layout/hierarchy4"/>
    <dgm:cxn modelId="{1640696F-6317-408F-AF4D-7D3D348E8F4D}" type="presParOf" srcId="{A272F4CA-76B8-42E2-BA31-2CA31250224D}" destId="{AC955F4A-A52C-40DB-88F4-CA9902D1714A}" srcOrd="0" destOrd="0" presId="urn:microsoft.com/office/officeart/2005/8/layout/hierarchy4"/>
    <dgm:cxn modelId="{97AD7170-3177-4EAD-AB24-40718D6FDE33}" type="presParOf" srcId="{A272F4CA-76B8-42E2-BA31-2CA31250224D}" destId="{E146DF3D-02AD-4A58-8CFA-4618B5D208D2}" srcOrd="1" destOrd="0" presId="urn:microsoft.com/office/officeart/2005/8/layout/hierarchy4"/>
    <dgm:cxn modelId="{519CD8A7-F9B6-42A3-B3E6-DA10A6344368}" type="presParOf" srcId="{A272F4CA-76B8-42E2-BA31-2CA31250224D}" destId="{675CC291-51C2-4100-9651-64273635E56F}" srcOrd="2" destOrd="0" presId="urn:microsoft.com/office/officeart/2005/8/layout/hierarchy4"/>
    <dgm:cxn modelId="{761A6657-A6B2-432C-9001-9614BBE4ABEB}" type="presParOf" srcId="{675CC291-51C2-4100-9651-64273635E56F}" destId="{0E6054B7-F00E-4F85-B561-6881546E37A4}" srcOrd="0" destOrd="0" presId="urn:microsoft.com/office/officeart/2005/8/layout/hierarchy4"/>
    <dgm:cxn modelId="{50BE88D7-B30F-4DD6-8564-FD9CD88172E1}" type="presParOf" srcId="{0E6054B7-F00E-4F85-B561-6881546E37A4}" destId="{C0DECA72-7967-4635-94D0-A4D6D534EAF2}" srcOrd="0" destOrd="0" presId="urn:microsoft.com/office/officeart/2005/8/layout/hierarchy4"/>
    <dgm:cxn modelId="{92A74805-F77C-4EE1-8CC4-EDBC30C408A3}" type="presParOf" srcId="{0E6054B7-F00E-4F85-B561-6881546E37A4}" destId="{A1B32F07-7D91-42DC-9A80-FDC2B3A35109}" srcOrd="1" destOrd="0" presId="urn:microsoft.com/office/officeart/2005/8/layout/hierarchy4"/>
    <dgm:cxn modelId="{E5F3B74F-ADCB-4ECB-9C08-77B56B2B1FB4}" type="presParOf" srcId="{0E6054B7-F00E-4F85-B561-6881546E37A4}" destId="{96FF9C60-934A-4592-B508-09E0724133CF}" srcOrd="2" destOrd="0" presId="urn:microsoft.com/office/officeart/2005/8/layout/hierarchy4"/>
    <dgm:cxn modelId="{8D401642-4766-4653-B0FA-3697C4153A0D}" type="presParOf" srcId="{96FF9C60-934A-4592-B508-09E0724133CF}" destId="{DCA909F2-0FA8-4F27-8295-4778FE77258F}" srcOrd="0" destOrd="0" presId="urn:microsoft.com/office/officeart/2005/8/layout/hierarchy4"/>
    <dgm:cxn modelId="{5A3FB8DC-FA54-4A24-908C-0265B4116ECB}" type="presParOf" srcId="{DCA909F2-0FA8-4F27-8295-4778FE77258F}" destId="{2CD69DA4-623C-4527-8CF0-C03E25CFD0F0}" srcOrd="0" destOrd="0" presId="urn:microsoft.com/office/officeart/2005/8/layout/hierarchy4"/>
    <dgm:cxn modelId="{5006545B-C813-4467-8108-1A1988DE1157}" type="presParOf" srcId="{DCA909F2-0FA8-4F27-8295-4778FE77258F}" destId="{7CB3BAB3-F873-4C23-A5DC-BF55B8F2442A}"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289AC5C-DCDD-4776-86D8-45AF33B64C8B}" type="doc">
      <dgm:prSet loTypeId="urn:microsoft.com/office/officeart/2005/8/layout/hierarchy4" loCatId="list" qsTypeId="urn:microsoft.com/office/officeart/2005/8/quickstyle/simple1" qsCatId="simple" csTypeId="urn:microsoft.com/office/officeart/2005/8/colors/colorful4" csCatId="colorful" phldr="1"/>
      <dgm:spPr/>
      <dgm:t>
        <a:bodyPr/>
        <a:lstStyle/>
        <a:p>
          <a:endParaRPr lang="es-PE"/>
        </a:p>
      </dgm:t>
    </dgm:pt>
    <dgm:pt modelId="{51F09DA6-932B-4782-896F-C9CA0595B049}">
      <dgm:prSet phldrT="[Texto]"/>
      <dgm:spPr/>
      <dgm:t>
        <a:bodyPr/>
        <a:lstStyle/>
        <a:p>
          <a:r>
            <a:rPr lang="es-PE" dirty="0"/>
            <a:t>Comprobantes de Pago</a:t>
          </a:r>
        </a:p>
      </dgm:t>
    </dgm:pt>
    <dgm:pt modelId="{8E6A6586-AE9C-40C7-B02D-7A94FA7C136D}" type="parTrans" cxnId="{65CCBB69-3A3C-444A-9F48-1AA1FD9A005E}">
      <dgm:prSet/>
      <dgm:spPr/>
      <dgm:t>
        <a:bodyPr/>
        <a:lstStyle/>
        <a:p>
          <a:endParaRPr lang="es-PE"/>
        </a:p>
      </dgm:t>
    </dgm:pt>
    <dgm:pt modelId="{811ADA51-20BA-4A35-B7D0-B34416657BD2}" type="sibTrans" cxnId="{65CCBB69-3A3C-444A-9F48-1AA1FD9A005E}">
      <dgm:prSet/>
      <dgm:spPr/>
      <dgm:t>
        <a:bodyPr/>
        <a:lstStyle/>
        <a:p>
          <a:endParaRPr lang="es-PE"/>
        </a:p>
      </dgm:t>
    </dgm:pt>
    <dgm:pt modelId="{727C4086-48A8-4C92-9115-F0FBAF0D6C9D}">
      <dgm:prSet phldrT="[Texto]"/>
      <dgm:spPr/>
      <dgm:t>
        <a:bodyPr/>
        <a:lstStyle/>
        <a:p>
          <a:r>
            <a:rPr lang="es-PE" dirty="0"/>
            <a:t>Fiscalización Parcial Electrónica</a:t>
          </a:r>
        </a:p>
        <a:p>
          <a:r>
            <a:rPr lang="es-PE" dirty="0"/>
            <a:t>Centro Control U. Virtual</a:t>
          </a:r>
        </a:p>
      </dgm:t>
    </dgm:pt>
    <dgm:pt modelId="{0D4EFB6F-3232-4C53-BC6F-4BC3D50CCFC8}" type="parTrans" cxnId="{FA5D4819-5BBE-4C92-B3D4-6C560A1C3D9D}">
      <dgm:prSet/>
      <dgm:spPr/>
      <dgm:t>
        <a:bodyPr/>
        <a:lstStyle/>
        <a:p>
          <a:endParaRPr lang="es-PE"/>
        </a:p>
      </dgm:t>
    </dgm:pt>
    <dgm:pt modelId="{EC961040-1A85-4F52-8BC0-230BD7159751}" type="sibTrans" cxnId="{FA5D4819-5BBE-4C92-B3D4-6C560A1C3D9D}">
      <dgm:prSet/>
      <dgm:spPr/>
      <dgm:t>
        <a:bodyPr/>
        <a:lstStyle/>
        <a:p>
          <a:endParaRPr lang="es-PE"/>
        </a:p>
      </dgm:t>
    </dgm:pt>
    <dgm:pt modelId="{D628707A-911A-4AD7-82D1-274FADDA7D63}">
      <dgm:prSet phldrT="[Texto]"/>
      <dgm:spPr/>
      <dgm:t>
        <a:bodyPr/>
        <a:lstStyle/>
        <a:p>
          <a:r>
            <a:rPr lang="es-PE" dirty="0"/>
            <a:t>Wilfredo Albarracín / Marcela Vargas / Elvira Truel</a:t>
          </a:r>
        </a:p>
      </dgm:t>
    </dgm:pt>
    <dgm:pt modelId="{9CB275B3-472A-4E3F-8AF3-E35246A0FC68}" type="parTrans" cxnId="{EC3A0902-A04B-4BA5-A598-C790B0F17144}">
      <dgm:prSet/>
      <dgm:spPr/>
      <dgm:t>
        <a:bodyPr/>
        <a:lstStyle/>
        <a:p>
          <a:endParaRPr lang="es-PE"/>
        </a:p>
      </dgm:t>
    </dgm:pt>
    <dgm:pt modelId="{B1099767-0323-4098-BC55-DAF96758A7D5}" type="sibTrans" cxnId="{EC3A0902-A04B-4BA5-A598-C790B0F17144}">
      <dgm:prSet/>
      <dgm:spPr/>
      <dgm:t>
        <a:bodyPr/>
        <a:lstStyle/>
        <a:p>
          <a:endParaRPr lang="es-PE"/>
        </a:p>
      </dgm:t>
    </dgm:pt>
    <dgm:pt modelId="{9BCCF806-4949-46BB-A71E-634F2E624C48}">
      <dgm:prSet phldrT="[Texto]"/>
      <dgm:spPr/>
      <dgm:t>
        <a:bodyPr/>
        <a:lstStyle/>
        <a:p>
          <a:r>
            <a:rPr lang="es-PE" dirty="0"/>
            <a:t>Fiscalización</a:t>
          </a:r>
        </a:p>
      </dgm:t>
    </dgm:pt>
    <dgm:pt modelId="{0FAAD5CA-08CE-4D81-BE2B-57C62DDBE1A5}" type="parTrans" cxnId="{EAEF8549-7855-4AA3-B969-48CEEE7A894E}">
      <dgm:prSet/>
      <dgm:spPr/>
      <dgm:t>
        <a:bodyPr/>
        <a:lstStyle/>
        <a:p>
          <a:endParaRPr lang="es-PE"/>
        </a:p>
      </dgm:t>
    </dgm:pt>
    <dgm:pt modelId="{A1D1D514-948C-4FA2-9FA4-4F3E0DE68EE8}" type="sibTrans" cxnId="{EAEF8549-7855-4AA3-B969-48CEEE7A894E}">
      <dgm:prSet/>
      <dgm:spPr/>
      <dgm:t>
        <a:bodyPr/>
        <a:lstStyle/>
        <a:p>
          <a:endParaRPr lang="es-PE"/>
        </a:p>
      </dgm:t>
    </dgm:pt>
    <dgm:pt modelId="{174050A7-8577-4430-B00A-BBD26E3362C6}">
      <dgm:prSet phldrT="[Texto]"/>
      <dgm:spPr/>
      <dgm:t>
        <a:bodyPr/>
        <a:lstStyle/>
        <a:p>
          <a:r>
            <a:rPr lang="es-PE" dirty="0"/>
            <a:t>Padrón LE</a:t>
          </a:r>
        </a:p>
        <a:p>
          <a:r>
            <a:rPr lang="es-PE" dirty="0"/>
            <a:t>Omiso a LE (Matriz)</a:t>
          </a:r>
        </a:p>
        <a:p>
          <a:r>
            <a:rPr lang="es-PE" dirty="0"/>
            <a:t>Validar Emisión CPE</a:t>
          </a:r>
        </a:p>
      </dgm:t>
    </dgm:pt>
    <dgm:pt modelId="{1C9B2FB6-BFC7-4ED8-9B86-6A03FAF8F9DD}" type="parTrans" cxnId="{0D38566A-9EBB-4574-BF70-C45804A8C729}">
      <dgm:prSet/>
      <dgm:spPr/>
      <dgm:t>
        <a:bodyPr/>
        <a:lstStyle/>
        <a:p>
          <a:endParaRPr lang="es-PE"/>
        </a:p>
      </dgm:t>
    </dgm:pt>
    <dgm:pt modelId="{3C854B13-2152-47E3-A82E-0CEE36E29419}" type="sibTrans" cxnId="{0D38566A-9EBB-4574-BF70-C45804A8C729}">
      <dgm:prSet/>
      <dgm:spPr/>
      <dgm:t>
        <a:bodyPr/>
        <a:lstStyle/>
        <a:p>
          <a:endParaRPr lang="es-PE"/>
        </a:p>
      </dgm:t>
    </dgm:pt>
    <dgm:pt modelId="{6045C501-6B4E-4A06-948D-7AF26051D964}">
      <dgm:prSet phldrT="[Texto]"/>
      <dgm:spPr/>
      <dgm:t>
        <a:bodyPr/>
        <a:lstStyle/>
        <a:p>
          <a:r>
            <a:rPr lang="es-PE" dirty="0"/>
            <a:t>Wilfredo Albarracín / Marcela Vargas / Michael Ruiz / Elvira Truel</a:t>
          </a:r>
        </a:p>
      </dgm:t>
    </dgm:pt>
    <dgm:pt modelId="{063495F3-7E5E-41D5-A38D-634AA164FBF5}" type="parTrans" cxnId="{D8A0E484-D3FF-4EEB-9FA6-F64852E8F75A}">
      <dgm:prSet/>
      <dgm:spPr/>
      <dgm:t>
        <a:bodyPr/>
        <a:lstStyle/>
        <a:p>
          <a:endParaRPr lang="es-PE"/>
        </a:p>
      </dgm:t>
    </dgm:pt>
    <dgm:pt modelId="{9FC07820-9DF3-457F-A3C4-3161BB3E75D6}" type="sibTrans" cxnId="{D8A0E484-D3FF-4EEB-9FA6-F64852E8F75A}">
      <dgm:prSet/>
      <dgm:spPr/>
      <dgm:t>
        <a:bodyPr/>
        <a:lstStyle/>
        <a:p>
          <a:endParaRPr lang="es-PE"/>
        </a:p>
      </dgm:t>
    </dgm:pt>
    <dgm:pt modelId="{C29F2319-BA09-43EC-A039-7FD53DE07E78}">
      <dgm:prSet phldrT="[Texto]"/>
      <dgm:spPr/>
      <dgm:t>
        <a:bodyPr/>
        <a:lstStyle/>
        <a:p>
          <a:r>
            <a:rPr lang="es-PE" dirty="0"/>
            <a:t>José </a:t>
          </a:r>
          <a:r>
            <a:rPr lang="es-PE" dirty="0" err="1"/>
            <a:t>AndréWilfredo</a:t>
          </a:r>
          <a:r>
            <a:rPr lang="es-PE" dirty="0"/>
            <a:t> Albarracín / Marcela Vargas</a:t>
          </a:r>
        </a:p>
      </dgm:t>
    </dgm:pt>
    <dgm:pt modelId="{6C424665-C50D-4370-948D-895C2DBD97D8}" type="parTrans" cxnId="{4FBC9478-74A4-4B20-AE8C-E8E184C74733}">
      <dgm:prSet/>
      <dgm:spPr/>
      <dgm:t>
        <a:bodyPr/>
        <a:lstStyle/>
        <a:p>
          <a:endParaRPr lang="es-PE"/>
        </a:p>
      </dgm:t>
    </dgm:pt>
    <dgm:pt modelId="{5B5AD124-5082-4D8B-8825-1E8B5C83217E}" type="sibTrans" cxnId="{4FBC9478-74A4-4B20-AE8C-E8E184C74733}">
      <dgm:prSet/>
      <dgm:spPr/>
      <dgm:t>
        <a:bodyPr/>
        <a:lstStyle/>
        <a:p>
          <a:endParaRPr lang="es-PE"/>
        </a:p>
      </dgm:t>
    </dgm:pt>
    <dgm:pt modelId="{C1E691ED-694D-4AE1-8EF5-27ECFE4D9CFA}">
      <dgm:prSet phldrT="[Texto]"/>
      <dgm:spPr/>
      <dgm:t>
        <a:bodyPr/>
        <a:lstStyle/>
        <a:p>
          <a:r>
            <a:rPr lang="es-PE" dirty="0"/>
            <a:t>Analítico</a:t>
          </a:r>
        </a:p>
      </dgm:t>
    </dgm:pt>
    <dgm:pt modelId="{51A1EF86-47D6-4358-8EEE-B9D836A0BA69}" type="parTrans" cxnId="{6C68DE14-F760-48FE-AC19-74372D94AFA6}">
      <dgm:prSet/>
      <dgm:spPr/>
      <dgm:t>
        <a:bodyPr/>
        <a:lstStyle/>
        <a:p>
          <a:endParaRPr lang="es-PE"/>
        </a:p>
      </dgm:t>
    </dgm:pt>
    <dgm:pt modelId="{E98DF99E-1852-4EB4-9E91-30D2C8138581}" type="sibTrans" cxnId="{6C68DE14-F760-48FE-AC19-74372D94AFA6}">
      <dgm:prSet/>
      <dgm:spPr/>
      <dgm:t>
        <a:bodyPr/>
        <a:lstStyle/>
        <a:p>
          <a:endParaRPr lang="es-PE"/>
        </a:p>
      </dgm:t>
    </dgm:pt>
    <dgm:pt modelId="{CE1E9537-9E5A-4FD8-8B69-C10C2DA4A36F}">
      <dgm:prSet phldrT="[Texto]"/>
      <dgm:spPr/>
      <dgm:t>
        <a:bodyPr/>
        <a:lstStyle/>
        <a:p>
          <a:r>
            <a:rPr lang="es-PE" dirty="0"/>
            <a:t>Modelo de IGV / Modelo de PPNN</a:t>
          </a:r>
        </a:p>
        <a:p>
          <a:r>
            <a:rPr lang="es-PE" dirty="0"/>
            <a:t>Servicio de validación de la Matriz</a:t>
          </a:r>
        </a:p>
      </dgm:t>
    </dgm:pt>
    <dgm:pt modelId="{520037F4-3F78-49D1-A1B5-5E6B6E2084FD}" type="parTrans" cxnId="{73AF489D-DCBC-49D5-A3A4-2E97E5CB4B7F}">
      <dgm:prSet/>
      <dgm:spPr/>
      <dgm:t>
        <a:bodyPr/>
        <a:lstStyle/>
        <a:p>
          <a:endParaRPr lang="es-PE"/>
        </a:p>
      </dgm:t>
    </dgm:pt>
    <dgm:pt modelId="{07FC52E2-38D0-4442-BD38-53DD1E901086}" type="sibTrans" cxnId="{73AF489D-DCBC-49D5-A3A4-2E97E5CB4B7F}">
      <dgm:prSet/>
      <dgm:spPr/>
      <dgm:t>
        <a:bodyPr/>
        <a:lstStyle/>
        <a:p>
          <a:endParaRPr lang="es-PE"/>
        </a:p>
      </dgm:t>
    </dgm:pt>
    <dgm:pt modelId="{A78E393E-6C77-4463-A58F-CD382D73C0FE}" type="pres">
      <dgm:prSet presAssocID="{A289AC5C-DCDD-4776-86D8-45AF33B64C8B}" presName="Name0" presStyleCnt="0">
        <dgm:presLayoutVars>
          <dgm:chPref val="1"/>
          <dgm:dir/>
          <dgm:animOne val="branch"/>
          <dgm:animLvl val="lvl"/>
          <dgm:resizeHandles/>
        </dgm:presLayoutVars>
      </dgm:prSet>
      <dgm:spPr/>
      <dgm:t>
        <a:bodyPr/>
        <a:lstStyle/>
        <a:p>
          <a:endParaRPr lang="es-PE"/>
        </a:p>
      </dgm:t>
    </dgm:pt>
    <dgm:pt modelId="{813A88DC-7F37-4D2D-B2D3-97B48078B92F}" type="pres">
      <dgm:prSet presAssocID="{51F09DA6-932B-4782-896F-C9CA0595B049}" presName="vertOne" presStyleCnt="0"/>
      <dgm:spPr/>
    </dgm:pt>
    <dgm:pt modelId="{7AEF32A7-17CE-4B7B-829A-1B338975B341}" type="pres">
      <dgm:prSet presAssocID="{51F09DA6-932B-4782-896F-C9CA0595B049}" presName="txOne" presStyleLbl="node0" presStyleIdx="0" presStyleCnt="3">
        <dgm:presLayoutVars>
          <dgm:chPref val="3"/>
        </dgm:presLayoutVars>
      </dgm:prSet>
      <dgm:spPr/>
      <dgm:t>
        <a:bodyPr/>
        <a:lstStyle/>
        <a:p>
          <a:endParaRPr lang="es-PE"/>
        </a:p>
      </dgm:t>
    </dgm:pt>
    <dgm:pt modelId="{53CF8DDD-1279-4673-BAA7-B3AAA5352039}" type="pres">
      <dgm:prSet presAssocID="{51F09DA6-932B-4782-896F-C9CA0595B049}" presName="parTransOne" presStyleCnt="0"/>
      <dgm:spPr/>
    </dgm:pt>
    <dgm:pt modelId="{64E3A655-62AC-4DA4-A9D4-F1E3F13EC3C6}" type="pres">
      <dgm:prSet presAssocID="{51F09DA6-932B-4782-896F-C9CA0595B049}" presName="horzOne" presStyleCnt="0"/>
      <dgm:spPr/>
    </dgm:pt>
    <dgm:pt modelId="{E86EF974-476D-4EC9-BE15-D9F2D7DCEA54}" type="pres">
      <dgm:prSet presAssocID="{174050A7-8577-4430-B00A-BBD26E3362C6}" presName="vertTwo" presStyleCnt="0"/>
      <dgm:spPr/>
    </dgm:pt>
    <dgm:pt modelId="{2C135EC1-15EA-48BB-B3FB-FF94EC2D8472}" type="pres">
      <dgm:prSet presAssocID="{174050A7-8577-4430-B00A-BBD26E3362C6}" presName="txTwo" presStyleLbl="node2" presStyleIdx="0" presStyleCnt="3">
        <dgm:presLayoutVars>
          <dgm:chPref val="3"/>
        </dgm:presLayoutVars>
      </dgm:prSet>
      <dgm:spPr/>
      <dgm:t>
        <a:bodyPr/>
        <a:lstStyle/>
        <a:p>
          <a:endParaRPr lang="es-PE"/>
        </a:p>
      </dgm:t>
    </dgm:pt>
    <dgm:pt modelId="{3ACC53F5-2865-4449-9AF0-060CA04CE414}" type="pres">
      <dgm:prSet presAssocID="{174050A7-8577-4430-B00A-BBD26E3362C6}" presName="parTransTwo" presStyleCnt="0"/>
      <dgm:spPr/>
    </dgm:pt>
    <dgm:pt modelId="{2F138C23-A574-48F6-81E6-1369DE69056C}" type="pres">
      <dgm:prSet presAssocID="{174050A7-8577-4430-B00A-BBD26E3362C6}" presName="horzTwo" presStyleCnt="0"/>
      <dgm:spPr/>
    </dgm:pt>
    <dgm:pt modelId="{A3AED2E9-4C1B-419D-913B-01C847983A4F}" type="pres">
      <dgm:prSet presAssocID="{6045C501-6B4E-4A06-948D-7AF26051D964}" presName="vertThree" presStyleCnt="0"/>
      <dgm:spPr/>
    </dgm:pt>
    <dgm:pt modelId="{DFACD8F4-1996-450B-BC49-E2C983DD46AA}" type="pres">
      <dgm:prSet presAssocID="{6045C501-6B4E-4A06-948D-7AF26051D964}" presName="txThree" presStyleLbl="node3" presStyleIdx="0" presStyleCnt="3">
        <dgm:presLayoutVars>
          <dgm:chPref val="3"/>
        </dgm:presLayoutVars>
      </dgm:prSet>
      <dgm:spPr/>
      <dgm:t>
        <a:bodyPr/>
        <a:lstStyle/>
        <a:p>
          <a:endParaRPr lang="es-PE"/>
        </a:p>
      </dgm:t>
    </dgm:pt>
    <dgm:pt modelId="{4459B9B1-8989-4B91-A09A-630ACFEE0DCA}" type="pres">
      <dgm:prSet presAssocID="{6045C501-6B4E-4A06-948D-7AF26051D964}" presName="horzThree" presStyleCnt="0"/>
      <dgm:spPr/>
    </dgm:pt>
    <dgm:pt modelId="{38DF6138-7DBC-4FA4-9CE2-EE330B89141E}" type="pres">
      <dgm:prSet presAssocID="{811ADA51-20BA-4A35-B7D0-B34416657BD2}" presName="sibSpaceOne" presStyleCnt="0"/>
      <dgm:spPr/>
    </dgm:pt>
    <dgm:pt modelId="{F63D0030-D04E-41C2-AA70-335FA3145A9F}" type="pres">
      <dgm:prSet presAssocID="{9BCCF806-4949-46BB-A71E-634F2E624C48}" presName="vertOne" presStyleCnt="0"/>
      <dgm:spPr/>
    </dgm:pt>
    <dgm:pt modelId="{D5B602A8-EED3-4E5D-9AF2-C330E79347F2}" type="pres">
      <dgm:prSet presAssocID="{9BCCF806-4949-46BB-A71E-634F2E624C48}" presName="txOne" presStyleLbl="node0" presStyleIdx="1" presStyleCnt="3">
        <dgm:presLayoutVars>
          <dgm:chPref val="3"/>
        </dgm:presLayoutVars>
      </dgm:prSet>
      <dgm:spPr/>
      <dgm:t>
        <a:bodyPr/>
        <a:lstStyle/>
        <a:p>
          <a:endParaRPr lang="es-PE"/>
        </a:p>
      </dgm:t>
    </dgm:pt>
    <dgm:pt modelId="{597269DF-DCFB-44DA-B2BB-588A05ED4F89}" type="pres">
      <dgm:prSet presAssocID="{9BCCF806-4949-46BB-A71E-634F2E624C48}" presName="parTransOne" presStyleCnt="0"/>
      <dgm:spPr/>
    </dgm:pt>
    <dgm:pt modelId="{42574A5C-AD49-4303-9EC1-463BE893A175}" type="pres">
      <dgm:prSet presAssocID="{9BCCF806-4949-46BB-A71E-634F2E624C48}" presName="horzOne" presStyleCnt="0"/>
      <dgm:spPr/>
    </dgm:pt>
    <dgm:pt modelId="{EFF70EB4-4BB2-4537-A810-A007B8A6A002}" type="pres">
      <dgm:prSet presAssocID="{727C4086-48A8-4C92-9115-F0FBAF0D6C9D}" presName="vertTwo" presStyleCnt="0"/>
      <dgm:spPr/>
    </dgm:pt>
    <dgm:pt modelId="{004842DE-3501-4EC8-B1CF-4FB17DAA820C}" type="pres">
      <dgm:prSet presAssocID="{727C4086-48A8-4C92-9115-F0FBAF0D6C9D}" presName="txTwo" presStyleLbl="node2" presStyleIdx="1" presStyleCnt="3">
        <dgm:presLayoutVars>
          <dgm:chPref val="3"/>
        </dgm:presLayoutVars>
      </dgm:prSet>
      <dgm:spPr/>
      <dgm:t>
        <a:bodyPr/>
        <a:lstStyle/>
        <a:p>
          <a:endParaRPr lang="es-PE"/>
        </a:p>
      </dgm:t>
    </dgm:pt>
    <dgm:pt modelId="{0C450429-020B-4650-9859-90397060EF5D}" type="pres">
      <dgm:prSet presAssocID="{727C4086-48A8-4C92-9115-F0FBAF0D6C9D}" presName="parTransTwo" presStyleCnt="0"/>
      <dgm:spPr/>
    </dgm:pt>
    <dgm:pt modelId="{1F742A03-0CB3-47DE-93B7-94D01B10466D}" type="pres">
      <dgm:prSet presAssocID="{727C4086-48A8-4C92-9115-F0FBAF0D6C9D}" presName="horzTwo" presStyleCnt="0"/>
      <dgm:spPr/>
    </dgm:pt>
    <dgm:pt modelId="{24A66152-4300-41A5-BB12-04C9B7C1315B}" type="pres">
      <dgm:prSet presAssocID="{D628707A-911A-4AD7-82D1-274FADDA7D63}" presName="vertThree" presStyleCnt="0"/>
      <dgm:spPr/>
    </dgm:pt>
    <dgm:pt modelId="{EF53CE44-510D-45EE-90E8-27387DB960B2}" type="pres">
      <dgm:prSet presAssocID="{D628707A-911A-4AD7-82D1-274FADDA7D63}" presName="txThree" presStyleLbl="node3" presStyleIdx="1" presStyleCnt="3">
        <dgm:presLayoutVars>
          <dgm:chPref val="3"/>
        </dgm:presLayoutVars>
      </dgm:prSet>
      <dgm:spPr/>
      <dgm:t>
        <a:bodyPr/>
        <a:lstStyle/>
        <a:p>
          <a:endParaRPr lang="es-PE"/>
        </a:p>
      </dgm:t>
    </dgm:pt>
    <dgm:pt modelId="{CD334082-FA60-4189-B711-9D8CB804390A}" type="pres">
      <dgm:prSet presAssocID="{D628707A-911A-4AD7-82D1-274FADDA7D63}" presName="horzThree" presStyleCnt="0"/>
      <dgm:spPr/>
    </dgm:pt>
    <dgm:pt modelId="{3413ACAB-9C45-4831-8F75-AE18F1B97BBA}" type="pres">
      <dgm:prSet presAssocID="{A1D1D514-948C-4FA2-9FA4-4F3E0DE68EE8}" presName="sibSpaceOne" presStyleCnt="0"/>
      <dgm:spPr/>
    </dgm:pt>
    <dgm:pt modelId="{A272F4CA-76B8-42E2-BA31-2CA31250224D}" type="pres">
      <dgm:prSet presAssocID="{C1E691ED-694D-4AE1-8EF5-27ECFE4D9CFA}" presName="vertOne" presStyleCnt="0"/>
      <dgm:spPr/>
    </dgm:pt>
    <dgm:pt modelId="{AC955F4A-A52C-40DB-88F4-CA9902D1714A}" type="pres">
      <dgm:prSet presAssocID="{C1E691ED-694D-4AE1-8EF5-27ECFE4D9CFA}" presName="txOne" presStyleLbl="node0" presStyleIdx="2" presStyleCnt="3">
        <dgm:presLayoutVars>
          <dgm:chPref val="3"/>
        </dgm:presLayoutVars>
      </dgm:prSet>
      <dgm:spPr/>
      <dgm:t>
        <a:bodyPr/>
        <a:lstStyle/>
        <a:p>
          <a:endParaRPr lang="es-PE"/>
        </a:p>
      </dgm:t>
    </dgm:pt>
    <dgm:pt modelId="{E146DF3D-02AD-4A58-8CFA-4618B5D208D2}" type="pres">
      <dgm:prSet presAssocID="{C1E691ED-694D-4AE1-8EF5-27ECFE4D9CFA}" presName="parTransOne" presStyleCnt="0"/>
      <dgm:spPr/>
    </dgm:pt>
    <dgm:pt modelId="{675CC291-51C2-4100-9651-64273635E56F}" type="pres">
      <dgm:prSet presAssocID="{C1E691ED-694D-4AE1-8EF5-27ECFE4D9CFA}" presName="horzOne" presStyleCnt="0"/>
      <dgm:spPr/>
    </dgm:pt>
    <dgm:pt modelId="{0E6054B7-F00E-4F85-B561-6881546E37A4}" type="pres">
      <dgm:prSet presAssocID="{CE1E9537-9E5A-4FD8-8B69-C10C2DA4A36F}" presName="vertTwo" presStyleCnt="0"/>
      <dgm:spPr/>
    </dgm:pt>
    <dgm:pt modelId="{C0DECA72-7967-4635-94D0-A4D6D534EAF2}" type="pres">
      <dgm:prSet presAssocID="{CE1E9537-9E5A-4FD8-8B69-C10C2DA4A36F}" presName="txTwo" presStyleLbl="node2" presStyleIdx="2" presStyleCnt="3">
        <dgm:presLayoutVars>
          <dgm:chPref val="3"/>
        </dgm:presLayoutVars>
      </dgm:prSet>
      <dgm:spPr/>
      <dgm:t>
        <a:bodyPr/>
        <a:lstStyle/>
        <a:p>
          <a:endParaRPr lang="es-PE"/>
        </a:p>
      </dgm:t>
    </dgm:pt>
    <dgm:pt modelId="{A1B32F07-7D91-42DC-9A80-FDC2B3A35109}" type="pres">
      <dgm:prSet presAssocID="{CE1E9537-9E5A-4FD8-8B69-C10C2DA4A36F}" presName="parTransTwo" presStyleCnt="0"/>
      <dgm:spPr/>
    </dgm:pt>
    <dgm:pt modelId="{96FF9C60-934A-4592-B508-09E0724133CF}" type="pres">
      <dgm:prSet presAssocID="{CE1E9537-9E5A-4FD8-8B69-C10C2DA4A36F}" presName="horzTwo" presStyleCnt="0"/>
      <dgm:spPr/>
    </dgm:pt>
    <dgm:pt modelId="{DCA909F2-0FA8-4F27-8295-4778FE77258F}" type="pres">
      <dgm:prSet presAssocID="{C29F2319-BA09-43EC-A039-7FD53DE07E78}" presName="vertThree" presStyleCnt="0"/>
      <dgm:spPr/>
    </dgm:pt>
    <dgm:pt modelId="{2CD69DA4-623C-4527-8CF0-C03E25CFD0F0}" type="pres">
      <dgm:prSet presAssocID="{C29F2319-BA09-43EC-A039-7FD53DE07E78}" presName="txThree" presStyleLbl="node3" presStyleIdx="2" presStyleCnt="3">
        <dgm:presLayoutVars>
          <dgm:chPref val="3"/>
        </dgm:presLayoutVars>
      </dgm:prSet>
      <dgm:spPr/>
      <dgm:t>
        <a:bodyPr/>
        <a:lstStyle/>
        <a:p>
          <a:endParaRPr lang="es-PE"/>
        </a:p>
      </dgm:t>
    </dgm:pt>
    <dgm:pt modelId="{7CB3BAB3-F873-4C23-A5DC-BF55B8F2442A}" type="pres">
      <dgm:prSet presAssocID="{C29F2319-BA09-43EC-A039-7FD53DE07E78}" presName="horzThree" presStyleCnt="0"/>
      <dgm:spPr/>
    </dgm:pt>
  </dgm:ptLst>
  <dgm:cxnLst>
    <dgm:cxn modelId="{D8A36D31-1142-4CC6-A55F-9863D0096469}" type="presOf" srcId="{174050A7-8577-4430-B00A-BBD26E3362C6}" destId="{2C135EC1-15EA-48BB-B3FB-FF94EC2D8472}" srcOrd="0" destOrd="0" presId="urn:microsoft.com/office/officeart/2005/8/layout/hierarchy4"/>
    <dgm:cxn modelId="{FA5D4819-5BBE-4C92-B3D4-6C560A1C3D9D}" srcId="{9BCCF806-4949-46BB-A71E-634F2E624C48}" destId="{727C4086-48A8-4C92-9115-F0FBAF0D6C9D}" srcOrd="0" destOrd="0" parTransId="{0D4EFB6F-3232-4C53-BC6F-4BC3D50CCFC8}" sibTransId="{EC961040-1A85-4F52-8BC0-230BD7159751}"/>
    <dgm:cxn modelId="{D8A0E484-D3FF-4EEB-9FA6-F64852E8F75A}" srcId="{174050A7-8577-4430-B00A-BBD26E3362C6}" destId="{6045C501-6B4E-4A06-948D-7AF26051D964}" srcOrd="0" destOrd="0" parTransId="{063495F3-7E5E-41D5-A38D-634AA164FBF5}" sibTransId="{9FC07820-9DF3-457F-A3C4-3161BB3E75D6}"/>
    <dgm:cxn modelId="{73AF489D-DCBC-49D5-A3A4-2E97E5CB4B7F}" srcId="{C1E691ED-694D-4AE1-8EF5-27ECFE4D9CFA}" destId="{CE1E9537-9E5A-4FD8-8B69-C10C2DA4A36F}" srcOrd="0" destOrd="0" parTransId="{520037F4-3F78-49D1-A1B5-5E6B6E2084FD}" sibTransId="{07FC52E2-38D0-4442-BD38-53DD1E901086}"/>
    <dgm:cxn modelId="{FFF70CE5-55FE-4403-9CFE-D9FD45F1013C}" type="presOf" srcId="{9BCCF806-4949-46BB-A71E-634F2E624C48}" destId="{D5B602A8-EED3-4E5D-9AF2-C330E79347F2}" srcOrd="0" destOrd="0" presId="urn:microsoft.com/office/officeart/2005/8/layout/hierarchy4"/>
    <dgm:cxn modelId="{16F9CC0E-9241-4C3C-8F15-FCEB6E968027}" type="presOf" srcId="{A289AC5C-DCDD-4776-86D8-45AF33B64C8B}" destId="{A78E393E-6C77-4463-A58F-CD382D73C0FE}" srcOrd="0" destOrd="0" presId="urn:microsoft.com/office/officeart/2005/8/layout/hierarchy4"/>
    <dgm:cxn modelId="{8671DDE3-6A8F-4550-B841-02FB9C78D363}" type="presOf" srcId="{727C4086-48A8-4C92-9115-F0FBAF0D6C9D}" destId="{004842DE-3501-4EC8-B1CF-4FB17DAA820C}" srcOrd="0" destOrd="0" presId="urn:microsoft.com/office/officeart/2005/8/layout/hierarchy4"/>
    <dgm:cxn modelId="{69A88BA1-779C-4A6E-A3F5-C05399CB9FFF}" type="presOf" srcId="{CE1E9537-9E5A-4FD8-8B69-C10C2DA4A36F}" destId="{C0DECA72-7967-4635-94D0-A4D6D534EAF2}" srcOrd="0" destOrd="0" presId="urn:microsoft.com/office/officeart/2005/8/layout/hierarchy4"/>
    <dgm:cxn modelId="{6C68DE14-F760-48FE-AC19-74372D94AFA6}" srcId="{A289AC5C-DCDD-4776-86D8-45AF33B64C8B}" destId="{C1E691ED-694D-4AE1-8EF5-27ECFE4D9CFA}" srcOrd="2" destOrd="0" parTransId="{51A1EF86-47D6-4358-8EEE-B9D836A0BA69}" sibTransId="{E98DF99E-1852-4EB4-9E91-30D2C8138581}"/>
    <dgm:cxn modelId="{EC203C89-EA36-41DD-8B84-E2CBA15FB35D}" type="presOf" srcId="{C1E691ED-694D-4AE1-8EF5-27ECFE4D9CFA}" destId="{AC955F4A-A52C-40DB-88F4-CA9902D1714A}" srcOrd="0" destOrd="0" presId="urn:microsoft.com/office/officeart/2005/8/layout/hierarchy4"/>
    <dgm:cxn modelId="{0D38566A-9EBB-4574-BF70-C45804A8C729}" srcId="{51F09DA6-932B-4782-896F-C9CA0595B049}" destId="{174050A7-8577-4430-B00A-BBD26E3362C6}" srcOrd="0" destOrd="0" parTransId="{1C9B2FB6-BFC7-4ED8-9B86-6A03FAF8F9DD}" sibTransId="{3C854B13-2152-47E3-A82E-0CEE36E29419}"/>
    <dgm:cxn modelId="{62AC0E3B-749E-42A5-8085-0968534949F8}" type="presOf" srcId="{51F09DA6-932B-4782-896F-C9CA0595B049}" destId="{7AEF32A7-17CE-4B7B-829A-1B338975B341}" srcOrd="0" destOrd="0" presId="urn:microsoft.com/office/officeart/2005/8/layout/hierarchy4"/>
    <dgm:cxn modelId="{68CC2532-E51E-4974-9D49-BCCEB877A0A5}" type="presOf" srcId="{D628707A-911A-4AD7-82D1-274FADDA7D63}" destId="{EF53CE44-510D-45EE-90E8-27387DB960B2}" srcOrd="0" destOrd="0" presId="urn:microsoft.com/office/officeart/2005/8/layout/hierarchy4"/>
    <dgm:cxn modelId="{27E32658-1C9A-493A-ACA1-AE5898119C82}" type="presOf" srcId="{C29F2319-BA09-43EC-A039-7FD53DE07E78}" destId="{2CD69DA4-623C-4527-8CF0-C03E25CFD0F0}" srcOrd="0" destOrd="0" presId="urn:microsoft.com/office/officeart/2005/8/layout/hierarchy4"/>
    <dgm:cxn modelId="{EC3A0902-A04B-4BA5-A598-C790B0F17144}" srcId="{727C4086-48A8-4C92-9115-F0FBAF0D6C9D}" destId="{D628707A-911A-4AD7-82D1-274FADDA7D63}" srcOrd="0" destOrd="0" parTransId="{9CB275B3-472A-4E3F-8AF3-E35246A0FC68}" sibTransId="{B1099767-0323-4098-BC55-DAF96758A7D5}"/>
    <dgm:cxn modelId="{4FBC9478-74A4-4B20-AE8C-E8E184C74733}" srcId="{CE1E9537-9E5A-4FD8-8B69-C10C2DA4A36F}" destId="{C29F2319-BA09-43EC-A039-7FD53DE07E78}" srcOrd="0" destOrd="0" parTransId="{6C424665-C50D-4370-948D-895C2DBD97D8}" sibTransId="{5B5AD124-5082-4D8B-8825-1E8B5C83217E}"/>
    <dgm:cxn modelId="{EAEF8549-7855-4AA3-B969-48CEEE7A894E}" srcId="{A289AC5C-DCDD-4776-86D8-45AF33B64C8B}" destId="{9BCCF806-4949-46BB-A71E-634F2E624C48}" srcOrd="1" destOrd="0" parTransId="{0FAAD5CA-08CE-4D81-BE2B-57C62DDBE1A5}" sibTransId="{A1D1D514-948C-4FA2-9FA4-4F3E0DE68EE8}"/>
    <dgm:cxn modelId="{F40B590B-F56F-467C-B71C-CA22FEFF7420}" type="presOf" srcId="{6045C501-6B4E-4A06-948D-7AF26051D964}" destId="{DFACD8F4-1996-450B-BC49-E2C983DD46AA}" srcOrd="0" destOrd="0" presId="urn:microsoft.com/office/officeart/2005/8/layout/hierarchy4"/>
    <dgm:cxn modelId="{65CCBB69-3A3C-444A-9F48-1AA1FD9A005E}" srcId="{A289AC5C-DCDD-4776-86D8-45AF33B64C8B}" destId="{51F09DA6-932B-4782-896F-C9CA0595B049}" srcOrd="0" destOrd="0" parTransId="{8E6A6586-AE9C-40C7-B02D-7A94FA7C136D}" sibTransId="{811ADA51-20BA-4A35-B7D0-B34416657BD2}"/>
    <dgm:cxn modelId="{60FFF007-93C5-41D6-99CE-65C7718043A9}" type="presParOf" srcId="{A78E393E-6C77-4463-A58F-CD382D73C0FE}" destId="{813A88DC-7F37-4D2D-B2D3-97B48078B92F}" srcOrd="0" destOrd="0" presId="urn:microsoft.com/office/officeart/2005/8/layout/hierarchy4"/>
    <dgm:cxn modelId="{B155574C-3FFF-454A-A81B-7E1D5EE2AA36}" type="presParOf" srcId="{813A88DC-7F37-4D2D-B2D3-97B48078B92F}" destId="{7AEF32A7-17CE-4B7B-829A-1B338975B341}" srcOrd="0" destOrd="0" presId="urn:microsoft.com/office/officeart/2005/8/layout/hierarchy4"/>
    <dgm:cxn modelId="{5ADFF776-B740-4852-83AA-FD1F6D6CFDD5}" type="presParOf" srcId="{813A88DC-7F37-4D2D-B2D3-97B48078B92F}" destId="{53CF8DDD-1279-4673-BAA7-B3AAA5352039}" srcOrd="1" destOrd="0" presId="urn:microsoft.com/office/officeart/2005/8/layout/hierarchy4"/>
    <dgm:cxn modelId="{43E47099-E439-4AA1-816A-3A0BD7803C82}" type="presParOf" srcId="{813A88DC-7F37-4D2D-B2D3-97B48078B92F}" destId="{64E3A655-62AC-4DA4-A9D4-F1E3F13EC3C6}" srcOrd="2" destOrd="0" presId="urn:microsoft.com/office/officeart/2005/8/layout/hierarchy4"/>
    <dgm:cxn modelId="{CA549C38-2D8F-496C-A67D-5C160F45A24C}" type="presParOf" srcId="{64E3A655-62AC-4DA4-A9D4-F1E3F13EC3C6}" destId="{E86EF974-476D-4EC9-BE15-D9F2D7DCEA54}" srcOrd="0" destOrd="0" presId="urn:microsoft.com/office/officeart/2005/8/layout/hierarchy4"/>
    <dgm:cxn modelId="{B84A0D19-11B3-40DE-865A-0F9CD29B4799}" type="presParOf" srcId="{E86EF974-476D-4EC9-BE15-D9F2D7DCEA54}" destId="{2C135EC1-15EA-48BB-B3FB-FF94EC2D8472}" srcOrd="0" destOrd="0" presId="urn:microsoft.com/office/officeart/2005/8/layout/hierarchy4"/>
    <dgm:cxn modelId="{CCAD8A7B-F94E-44B3-B2DF-811522C596AE}" type="presParOf" srcId="{E86EF974-476D-4EC9-BE15-D9F2D7DCEA54}" destId="{3ACC53F5-2865-4449-9AF0-060CA04CE414}" srcOrd="1" destOrd="0" presId="urn:microsoft.com/office/officeart/2005/8/layout/hierarchy4"/>
    <dgm:cxn modelId="{40BC80C9-846F-4C33-855E-D0E938CD4F0F}" type="presParOf" srcId="{E86EF974-476D-4EC9-BE15-D9F2D7DCEA54}" destId="{2F138C23-A574-48F6-81E6-1369DE69056C}" srcOrd="2" destOrd="0" presId="urn:microsoft.com/office/officeart/2005/8/layout/hierarchy4"/>
    <dgm:cxn modelId="{989E953A-A8A2-4572-8A7E-94E3FEE60BA2}" type="presParOf" srcId="{2F138C23-A574-48F6-81E6-1369DE69056C}" destId="{A3AED2E9-4C1B-419D-913B-01C847983A4F}" srcOrd="0" destOrd="0" presId="urn:microsoft.com/office/officeart/2005/8/layout/hierarchy4"/>
    <dgm:cxn modelId="{DD82AAF8-7642-4A8C-B024-954E22EC489E}" type="presParOf" srcId="{A3AED2E9-4C1B-419D-913B-01C847983A4F}" destId="{DFACD8F4-1996-450B-BC49-E2C983DD46AA}" srcOrd="0" destOrd="0" presId="urn:microsoft.com/office/officeart/2005/8/layout/hierarchy4"/>
    <dgm:cxn modelId="{A07187F5-FB31-41F6-92BB-E8497C13AD86}" type="presParOf" srcId="{A3AED2E9-4C1B-419D-913B-01C847983A4F}" destId="{4459B9B1-8989-4B91-A09A-630ACFEE0DCA}" srcOrd="1" destOrd="0" presId="urn:microsoft.com/office/officeart/2005/8/layout/hierarchy4"/>
    <dgm:cxn modelId="{9958D1A5-6BC8-4DE3-A0B3-D1D373EFD711}" type="presParOf" srcId="{A78E393E-6C77-4463-A58F-CD382D73C0FE}" destId="{38DF6138-7DBC-4FA4-9CE2-EE330B89141E}" srcOrd="1" destOrd="0" presId="urn:microsoft.com/office/officeart/2005/8/layout/hierarchy4"/>
    <dgm:cxn modelId="{2F1C4578-6CDB-41BD-8966-A1AACF9168AC}" type="presParOf" srcId="{A78E393E-6C77-4463-A58F-CD382D73C0FE}" destId="{F63D0030-D04E-41C2-AA70-335FA3145A9F}" srcOrd="2" destOrd="0" presId="urn:microsoft.com/office/officeart/2005/8/layout/hierarchy4"/>
    <dgm:cxn modelId="{D730FB42-6AD5-4DA1-A096-4F1F9C79B715}" type="presParOf" srcId="{F63D0030-D04E-41C2-AA70-335FA3145A9F}" destId="{D5B602A8-EED3-4E5D-9AF2-C330E79347F2}" srcOrd="0" destOrd="0" presId="urn:microsoft.com/office/officeart/2005/8/layout/hierarchy4"/>
    <dgm:cxn modelId="{F103B46C-2721-430A-A144-7B102FAAD571}" type="presParOf" srcId="{F63D0030-D04E-41C2-AA70-335FA3145A9F}" destId="{597269DF-DCFB-44DA-B2BB-588A05ED4F89}" srcOrd="1" destOrd="0" presId="urn:microsoft.com/office/officeart/2005/8/layout/hierarchy4"/>
    <dgm:cxn modelId="{A9A49E17-EF4A-4E58-8234-4D720B58EF55}" type="presParOf" srcId="{F63D0030-D04E-41C2-AA70-335FA3145A9F}" destId="{42574A5C-AD49-4303-9EC1-463BE893A175}" srcOrd="2" destOrd="0" presId="urn:microsoft.com/office/officeart/2005/8/layout/hierarchy4"/>
    <dgm:cxn modelId="{F1E9D118-4971-4B3F-B84D-C4E366930A10}" type="presParOf" srcId="{42574A5C-AD49-4303-9EC1-463BE893A175}" destId="{EFF70EB4-4BB2-4537-A810-A007B8A6A002}" srcOrd="0" destOrd="0" presId="urn:microsoft.com/office/officeart/2005/8/layout/hierarchy4"/>
    <dgm:cxn modelId="{F4A13F5A-F43A-4B44-B798-80AA8F445B67}" type="presParOf" srcId="{EFF70EB4-4BB2-4537-A810-A007B8A6A002}" destId="{004842DE-3501-4EC8-B1CF-4FB17DAA820C}" srcOrd="0" destOrd="0" presId="urn:microsoft.com/office/officeart/2005/8/layout/hierarchy4"/>
    <dgm:cxn modelId="{5A2A1639-4603-429C-902A-0C053C4E80D5}" type="presParOf" srcId="{EFF70EB4-4BB2-4537-A810-A007B8A6A002}" destId="{0C450429-020B-4650-9859-90397060EF5D}" srcOrd="1" destOrd="0" presId="urn:microsoft.com/office/officeart/2005/8/layout/hierarchy4"/>
    <dgm:cxn modelId="{E6AA17AD-AE56-4CDD-BB56-376E4ECC281B}" type="presParOf" srcId="{EFF70EB4-4BB2-4537-A810-A007B8A6A002}" destId="{1F742A03-0CB3-47DE-93B7-94D01B10466D}" srcOrd="2" destOrd="0" presId="urn:microsoft.com/office/officeart/2005/8/layout/hierarchy4"/>
    <dgm:cxn modelId="{C0076154-CDC0-4E7C-9810-03E2050D4E8E}" type="presParOf" srcId="{1F742A03-0CB3-47DE-93B7-94D01B10466D}" destId="{24A66152-4300-41A5-BB12-04C9B7C1315B}" srcOrd="0" destOrd="0" presId="urn:microsoft.com/office/officeart/2005/8/layout/hierarchy4"/>
    <dgm:cxn modelId="{E3A9855C-AB48-4778-8159-DD994B595B06}" type="presParOf" srcId="{24A66152-4300-41A5-BB12-04C9B7C1315B}" destId="{EF53CE44-510D-45EE-90E8-27387DB960B2}" srcOrd="0" destOrd="0" presId="urn:microsoft.com/office/officeart/2005/8/layout/hierarchy4"/>
    <dgm:cxn modelId="{91DCE0F4-AD32-4E4E-A459-5E93EEFBFC8A}" type="presParOf" srcId="{24A66152-4300-41A5-BB12-04C9B7C1315B}" destId="{CD334082-FA60-4189-B711-9D8CB804390A}" srcOrd="1" destOrd="0" presId="urn:microsoft.com/office/officeart/2005/8/layout/hierarchy4"/>
    <dgm:cxn modelId="{C0551227-5462-4C3C-844C-577E69C773FA}" type="presParOf" srcId="{A78E393E-6C77-4463-A58F-CD382D73C0FE}" destId="{3413ACAB-9C45-4831-8F75-AE18F1B97BBA}" srcOrd="3" destOrd="0" presId="urn:microsoft.com/office/officeart/2005/8/layout/hierarchy4"/>
    <dgm:cxn modelId="{88647361-C402-4A35-829F-0553EEC33732}" type="presParOf" srcId="{A78E393E-6C77-4463-A58F-CD382D73C0FE}" destId="{A272F4CA-76B8-42E2-BA31-2CA31250224D}" srcOrd="4" destOrd="0" presId="urn:microsoft.com/office/officeart/2005/8/layout/hierarchy4"/>
    <dgm:cxn modelId="{430D84C1-946D-46D4-80AD-40BDB5614F40}" type="presParOf" srcId="{A272F4CA-76B8-42E2-BA31-2CA31250224D}" destId="{AC955F4A-A52C-40DB-88F4-CA9902D1714A}" srcOrd="0" destOrd="0" presId="urn:microsoft.com/office/officeart/2005/8/layout/hierarchy4"/>
    <dgm:cxn modelId="{D7E97E3F-0299-44A7-B63F-C89208286526}" type="presParOf" srcId="{A272F4CA-76B8-42E2-BA31-2CA31250224D}" destId="{E146DF3D-02AD-4A58-8CFA-4618B5D208D2}" srcOrd="1" destOrd="0" presId="urn:microsoft.com/office/officeart/2005/8/layout/hierarchy4"/>
    <dgm:cxn modelId="{73153620-C4D2-460B-A43A-1FF2D81A9D07}" type="presParOf" srcId="{A272F4CA-76B8-42E2-BA31-2CA31250224D}" destId="{675CC291-51C2-4100-9651-64273635E56F}" srcOrd="2" destOrd="0" presId="urn:microsoft.com/office/officeart/2005/8/layout/hierarchy4"/>
    <dgm:cxn modelId="{76356FF6-8525-47DF-AAB5-52396FF465C0}" type="presParOf" srcId="{675CC291-51C2-4100-9651-64273635E56F}" destId="{0E6054B7-F00E-4F85-B561-6881546E37A4}" srcOrd="0" destOrd="0" presId="urn:microsoft.com/office/officeart/2005/8/layout/hierarchy4"/>
    <dgm:cxn modelId="{9D800A36-C628-4383-AA58-BCF941A4FE86}" type="presParOf" srcId="{0E6054B7-F00E-4F85-B561-6881546E37A4}" destId="{C0DECA72-7967-4635-94D0-A4D6D534EAF2}" srcOrd="0" destOrd="0" presId="urn:microsoft.com/office/officeart/2005/8/layout/hierarchy4"/>
    <dgm:cxn modelId="{E3A622C1-DFE1-4D89-AFAE-B492BCFD0670}" type="presParOf" srcId="{0E6054B7-F00E-4F85-B561-6881546E37A4}" destId="{A1B32F07-7D91-42DC-9A80-FDC2B3A35109}" srcOrd="1" destOrd="0" presId="urn:microsoft.com/office/officeart/2005/8/layout/hierarchy4"/>
    <dgm:cxn modelId="{3AE4450D-34E0-4462-8B30-193A6747A6F1}" type="presParOf" srcId="{0E6054B7-F00E-4F85-B561-6881546E37A4}" destId="{96FF9C60-934A-4592-B508-09E0724133CF}" srcOrd="2" destOrd="0" presId="urn:microsoft.com/office/officeart/2005/8/layout/hierarchy4"/>
    <dgm:cxn modelId="{9A97D823-4007-488F-A2C7-AFD776BAC927}" type="presParOf" srcId="{96FF9C60-934A-4592-B508-09E0724133CF}" destId="{DCA909F2-0FA8-4F27-8295-4778FE77258F}" srcOrd="0" destOrd="0" presId="urn:microsoft.com/office/officeart/2005/8/layout/hierarchy4"/>
    <dgm:cxn modelId="{3248157B-60D7-4472-BD20-C0796778D3E9}" type="presParOf" srcId="{DCA909F2-0FA8-4F27-8295-4778FE77258F}" destId="{2CD69DA4-623C-4527-8CF0-C03E25CFD0F0}" srcOrd="0" destOrd="0" presId="urn:microsoft.com/office/officeart/2005/8/layout/hierarchy4"/>
    <dgm:cxn modelId="{A5BCBC8F-123D-4452-BDAD-9862B6CA10FE}" type="presParOf" srcId="{DCA909F2-0FA8-4F27-8295-4778FE77258F}" destId="{7CB3BAB3-F873-4C23-A5DC-BF55B8F2442A}"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0B2B9F-2850-4791-8292-505CEBA4BAC8}">
      <dsp:nvSpPr>
        <dsp:cNvPr id="0" name=""/>
        <dsp:cNvSpPr/>
      </dsp:nvSpPr>
      <dsp:spPr>
        <a:xfrm>
          <a:off x="9338332" y="1629633"/>
          <a:ext cx="143146" cy="1685228"/>
        </a:xfrm>
        <a:custGeom>
          <a:avLst/>
          <a:gdLst/>
          <a:ahLst/>
          <a:cxnLst/>
          <a:rect l="0" t="0" r="0" b="0"/>
          <a:pathLst>
            <a:path>
              <a:moveTo>
                <a:pt x="0" y="0"/>
              </a:moveTo>
              <a:lnTo>
                <a:pt x="0" y="1685228"/>
              </a:lnTo>
              <a:lnTo>
                <a:pt x="143146" y="168522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4B8F2E-35A6-40F2-B216-4D1F03B20FCE}">
      <dsp:nvSpPr>
        <dsp:cNvPr id="0" name=""/>
        <dsp:cNvSpPr/>
      </dsp:nvSpPr>
      <dsp:spPr>
        <a:xfrm>
          <a:off x="9338332" y="1629633"/>
          <a:ext cx="143146" cy="648578"/>
        </a:xfrm>
        <a:custGeom>
          <a:avLst/>
          <a:gdLst/>
          <a:ahLst/>
          <a:cxnLst/>
          <a:rect l="0" t="0" r="0" b="0"/>
          <a:pathLst>
            <a:path>
              <a:moveTo>
                <a:pt x="0" y="0"/>
              </a:moveTo>
              <a:lnTo>
                <a:pt x="0" y="648578"/>
              </a:lnTo>
              <a:lnTo>
                <a:pt x="143146" y="64857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5E06EE-D542-4F7A-AA3C-DED1EBBFD0E1}">
      <dsp:nvSpPr>
        <dsp:cNvPr id="0" name=""/>
        <dsp:cNvSpPr/>
      </dsp:nvSpPr>
      <dsp:spPr>
        <a:xfrm>
          <a:off x="5101205" y="729792"/>
          <a:ext cx="4618849" cy="200404"/>
        </a:xfrm>
        <a:custGeom>
          <a:avLst/>
          <a:gdLst/>
          <a:ahLst/>
          <a:cxnLst/>
          <a:rect l="0" t="0" r="0" b="0"/>
          <a:pathLst>
            <a:path>
              <a:moveTo>
                <a:pt x="0" y="0"/>
              </a:moveTo>
              <a:lnTo>
                <a:pt x="0" y="100202"/>
              </a:lnTo>
              <a:lnTo>
                <a:pt x="4618849" y="100202"/>
              </a:lnTo>
              <a:lnTo>
                <a:pt x="4618849" y="20040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8290E20-987B-4526-9F1B-099EEF87D1A3}">
      <dsp:nvSpPr>
        <dsp:cNvPr id="0" name=""/>
        <dsp:cNvSpPr/>
      </dsp:nvSpPr>
      <dsp:spPr>
        <a:xfrm>
          <a:off x="8183619" y="1629633"/>
          <a:ext cx="143146" cy="3537292"/>
        </a:xfrm>
        <a:custGeom>
          <a:avLst/>
          <a:gdLst/>
          <a:ahLst/>
          <a:cxnLst/>
          <a:rect l="0" t="0" r="0" b="0"/>
          <a:pathLst>
            <a:path>
              <a:moveTo>
                <a:pt x="0" y="0"/>
              </a:moveTo>
              <a:lnTo>
                <a:pt x="0" y="3537292"/>
              </a:lnTo>
              <a:lnTo>
                <a:pt x="143146" y="353729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FC16D4-8066-47D2-8435-B20297012FC0}">
      <dsp:nvSpPr>
        <dsp:cNvPr id="0" name=""/>
        <dsp:cNvSpPr/>
      </dsp:nvSpPr>
      <dsp:spPr>
        <a:xfrm>
          <a:off x="8183619" y="1629633"/>
          <a:ext cx="143146" cy="2670344"/>
        </a:xfrm>
        <a:custGeom>
          <a:avLst/>
          <a:gdLst/>
          <a:ahLst/>
          <a:cxnLst/>
          <a:rect l="0" t="0" r="0" b="0"/>
          <a:pathLst>
            <a:path>
              <a:moveTo>
                <a:pt x="0" y="0"/>
              </a:moveTo>
              <a:lnTo>
                <a:pt x="0" y="2670344"/>
              </a:lnTo>
              <a:lnTo>
                <a:pt x="143146" y="267034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F105FB-99A9-406A-813A-1091F0DB8C7F}">
      <dsp:nvSpPr>
        <dsp:cNvPr id="0" name=""/>
        <dsp:cNvSpPr/>
      </dsp:nvSpPr>
      <dsp:spPr>
        <a:xfrm>
          <a:off x="8183619" y="1629633"/>
          <a:ext cx="143146" cy="1613779"/>
        </a:xfrm>
        <a:custGeom>
          <a:avLst/>
          <a:gdLst/>
          <a:ahLst/>
          <a:cxnLst/>
          <a:rect l="0" t="0" r="0" b="0"/>
          <a:pathLst>
            <a:path>
              <a:moveTo>
                <a:pt x="0" y="0"/>
              </a:moveTo>
              <a:lnTo>
                <a:pt x="0" y="1613779"/>
              </a:lnTo>
              <a:lnTo>
                <a:pt x="143146" y="1613779"/>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3A5BA4-3386-4F35-8F0F-3815DE3B2062}">
      <dsp:nvSpPr>
        <dsp:cNvPr id="0" name=""/>
        <dsp:cNvSpPr/>
      </dsp:nvSpPr>
      <dsp:spPr>
        <a:xfrm>
          <a:off x="8183619" y="1629633"/>
          <a:ext cx="143146" cy="553765"/>
        </a:xfrm>
        <a:custGeom>
          <a:avLst/>
          <a:gdLst/>
          <a:ahLst/>
          <a:cxnLst/>
          <a:rect l="0" t="0" r="0" b="0"/>
          <a:pathLst>
            <a:path>
              <a:moveTo>
                <a:pt x="0" y="0"/>
              </a:moveTo>
              <a:lnTo>
                <a:pt x="0" y="553765"/>
              </a:lnTo>
              <a:lnTo>
                <a:pt x="143146" y="553765"/>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C267AB-0C11-4559-BF41-E94E8C6276C9}">
      <dsp:nvSpPr>
        <dsp:cNvPr id="0" name=""/>
        <dsp:cNvSpPr/>
      </dsp:nvSpPr>
      <dsp:spPr>
        <a:xfrm>
          <a:off x="5101205" y="729792"/>
          <a:ext cx="3464137" cy="200404"/>
        </a:xfrm>
        <a:custGeom>
          <a:avLst/>
          <a:gdLst/>
          <a:ahLst/>
          <a:cxnLst/>
          <a:rect l="0" t="0" r="0" b="0"/>
          <a:pathLst>
            <a:path>
              <a:moveTo>
                <a:pt x="0" y="0"/>
              </a:moveTo>
              <a:lnTo>
                <a:pt x="0" y="100202"/>
              </a:lnTo>
              <a:lnTo>
                <a:pt x="3464137" y="100202"/>
              </a:lnTo>
              <a:lnTo>
                <a:pt x="3464137" y="20040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4369D11-075C-4A5F-BA46-A618892793FD}">
      <dsp:nvSpPr>
        <dsp:cNvPr id="0" name=""/>
        <dsp:cNvSpPr/>
      </dsp:nvSpPr>
      <dsp:spPr>
        <a:xfrm>
          <a:off x="7028907" y="1629633"/>
          <a:ext cx="143146" cy="3106570"/>
        </a:xfrm>
        <a:custGeom>
          <a:avLst/>
          <a:gdLst/>
          <a:ahLst/>
          <a:cxnLst/>
          <a:rect l="0" t="0" r="0" b="0"/>
          <a:pathLst>
            <a:path>
              <a:moveTo>
                <a:pt x="0" y="0"/>
              </a:moveTo>
              <a:lnTo>
                <a:pt x="0" y="3106570"/>
              </a:lnTo>
              <a:lnTo>
                <a:pt x="143146" y="310657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4478CE-8568-4931-8DFB-B81536ECE4F0}">
      <dsp:nvSpPr>
        <dsp:cNvPr id="0" name=""/>
        <dsp:cNvSpPr/>
      </dsp:nvSpPr>
      <dsp:spPr>
        <a:xfrm>
          <a:off x="7028907" y="1629633"/>
          <a:ext cx="143146" cy="2184374"/>
        </a:xfrm>
        <a:custGeom>
          <a:avLst/>
          <a:gdLst/>
          <a:ahLst/>
          <a:cxnLst/>
          <a:rect l="0" t="0" r="0" b="0"/>
          <a:pathLst>
            <a:path>
              <a:moveTo>
                <a:pt x="0" y="0"/>
              </a:moveTo>
              <a:lnTo>
                <a:pt x="0" y="2184374"/>
              </a:lnTo>
              <a:lnTo>
                <a:pt x="143146" y="218437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B7DB2EC-2962-4694-833B-7195FBA3B24C}">
      <dsp:nvSpPr>
        <dsp:cNvPr id="0" name=""/>
        <dsp:cNvSpPr/>
      </dsp:nvSpPr>
      <dsp:spPr>
        <a:xfrm>
          <a:off x="7028907" y="1629633"/>
          <a:ext cx="143146" cy="1350705"/>
        </a:xfrm>
        <a:custGeom>
          <a:avLst/>
          <a:gdLst/>
          <a:ahLst/>
          <a:cxnLst/>
          <a:rect l="0" t="0" r="0" b="0"/>
          <a:pathLst>
            <a:path>
              <a:moveTo>
                <a:pt x="0" y="0"/>
              </a:moveTo>
              <a:lnTo>
                <a:pt x="0" y="1350705"/>
              </a:lnTo>
              <a:lnTo>
                <a:pt x="143146" y="1350705"/>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403472-1495-4555-A660-69C01159E1DC}">
      <dsp:nvSpPr>
        <dsp:cNvPr id="0" name=""/>
        <dsp:cNvSpPr/>
      </dsp:nvSpPr>
      <dsp:spPr>
        <a:xfrm>
          <a:off x="7028907" y="1629633"/>
          <a:ext cx="143146" cy="517036"/>
        </a:xfrm>
        <a:custGeom>
          <a:avLst/>
          <a:gdLst/>
          <a:ahLst/>
          <a:cxnLst/>
          <a:rect l="0" t="0" r="0" b="0"/>
          <a:pathLst>
            <a:path>
              <a:moveTo>
                <a:pt x="0" y="0"/>
              </a:moveTo>
              <a:lnTo>
                <a:pt x="0" y="517036"/>
              </a:lnTo>
              <a:lnTo>
                <a:pt x="143146" y="51703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24925C-F21D-4A89-B5FE-96B7AC8B4EB3}">
      <dsp:nvSpPr>
        <dsp:cNvPr id="0" name=""/>
        <dsp:cNvSpPr/>
      </dsp:nvSpPr>
      <dsp:spPr>
        <a:xfrm>
          <a:off x="5101205" y="729792"/>
          <a:ext cx="2309424" cy="200404"/>
        </a:xfrm>
        <a:custGeom>
          <a:avLst/>
          <a:gdLst/>
          <a:ahLst/>
          <a:cxnLst/>
          <a:rect l="0" t="0" r="0" b="0"/>
          <a:pathLst>
            <a:path>
              <a:moveTo>
                <a:pt x="0" y="0"/>
              </a:moveTo>
              <a:lnTo>
                <a:pt x="0" y="100202"/>
              </a:lnTo>
              <a:lnTo>
                <a:pt x="2309424" y="100202"/>
              </a:lnTo>
              <a:lnTo>
                <a:pt x="2309424" y="20040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9863CD-7D36-4932-80A3-F3EDA2C1A7B5}">
      <dsp:nvSpPr>
        <dsp:cNvPr id="0" name=""/>
        <dsp:cNvSpPr/>
      </dsp:nvSpPr>
      <dsp:spPr>
        <a:xfrm>
          <a:off x="5874194" y="1592997"/>
          <a:ext cx="143146" cy="3372192"/>
        </a:xfrm>
        <a:custGeom>
          <a:avLst/>
          <a:gdLst/>
          <a:ahLst/>
          <a:cxnLst/>
          <a:rect l="0" t="0" r="0" b="0"/>
          <a:pathLst>
            <a:path>
              <a:moveTo>
                <a:pt x="0" y="0"/>
              </a:moveTo>
              <a:lnTo>
                <a:pt x="0" y="3372192"/>
              </a:lnTo>
              <a:lnTo>
                <a:pt x="143146" y="337219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DE84D5-1D0B-4A69-9D51-6E4BCD7E74B0}">
      <dsp:nvSpPr>
        <dsp:cNvPr id="0" name=""/>
        <dsp:cNvSpPr/>
      </dsp:nvSpPr>
      <dsp:spPr>
        <a:xfrm>
          <a:off x="5874194" y="1592997"/>
          <a:ext cx="143146" cy="2538523"/>
        </a:xfrm>
        <a:custGeom>
          <a:avLst/>
          <a:gdLst/>
          <a:ahLst/>
          <a:cxnLst/>
          <a:rect l="0" t="0" r="0" b="0"/>
          <a:pathLst>
            <a:path>
              <a:moveTo>
                <a:pt x="0" y="0"/>
              </a:moveTo>
              <a:lnTo>
                <a:pt x="0" y="2538523"/>
              </a:lnTo>
              <a:lnTo>
                <a:pt x="143146" y="253852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01A82B-26FF-4EFA-B0DF-5BFF89D576FB}">
      <dsp:nvSpPr>
        <dsp:cNvPr id="0" name=""/>
        <dsp:cNvSpPr/>
      </dsp:nvSpPr>
      <dsp:spPr>
        <a:xfrm>
          <a:off x="5874194" y="1592997"/>
          <a:ext cx="143146" cy="1527780"/>
        </a:xfrm>
        <a:custGeom>
          <a:avLst/>
          <a:gdLst/>
          <a:ahLst/>
          <a:cxnLst/>
          <a:rect l="0" t="0" r="0" b="0"/>
          <a:pathLst>
            <a:path>
              <a:moveTo>
                <a:pt x="0" y="0"/>
              </a:moveTo>
              <a:lnTo>
                <a:pt x="0" y="1527780"/>
              </a:lnTo>
              <a:lnTo>
                <a:pt x="143146" y="152778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7316E5-9773-4E34-964F-CC6B0F8455B0}">
      <dsp:nvSpPr>
        <dsp:cNvPr id="0" name=""/>
        <dsp:cNvSpPr/>
      </dsp:nvSpPr>
      <dsp:spPr>
        <a:xfrm>
          <a:off x="5874194" y="1592997"/>
          <a:ext cx="143146" cy="517036"/>
        </a:xfrm>
        <a:custGeom>
          <a:avLst/>
          <a:gdLst/>
          <a:ahLst/>
          <a:cxnLst/>
          <a:rect l="0" t="0" r="0" b="0"/>
          <a:pathLst>
            <a:path>
              <a:moveTo>
                <a:pt x="0" y="0"/>
              </a:moveTo>
              <a:lnTo>
                <a:pt x="0" y="517036"/>
              </a:lnTo>
              <a:lnTo>
                <a:pt x="143146" y="51703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0FA549-CC53-4EC0-9783-9A58112DC4F6}">
      <dsp:nvSpPr>
        <dsp:cNvPr id="0" name=""/>
        <dsp:cNvSpPr/>
      </dsp:nvSpPr>
      <dsp:spPr>
        <a:xfrm>
          <a:off x="5101205" y="729792"/>
          <a:ext cx="1154712" cy="200404"/>
        </a:xfrm>
        <a:custGeom>
          <a:avLst/>
          <a:gdLst/>
          <a:ahLst/>
          <a:cxnLst/>
          <a:rect l="0" t="0" r="0" b="0"/>
          <a:pathLst>
            <a:path>
              <a:moveTo>
                <a:pt x="0" y="0"/>
              </a:moveTo>
              <a:lnTo>
                <a:pt x="0" y="100202"/>
              </a:lnTo>
              <a:lnTo>
                <a:pt x="1154712" y="100202"/>
              </a:lnTo>
              <a:lnTo>
                <a:pt x="1154712" y="20040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1C9ECA-5301-4C71-99E2-AEEFD468990D}">
      <dsp:nvSpPr>
        <dsp:cNvPr id="0" name=""/>
        <dsp:cNvSpPr/>
      </dsp:nvSpPr>
      <dsp:spPr>
        <a:xfrm>
          <a:off x="4719482" y="1592997"/>
          <a:ext cx="143146" cy="3018043"/>
        </a:xfrm>
        <a:custGeom>
          <a:avLst/>
          <a:gdLst/>
          <a:ahLst/>
          <a:cxnLst/>
          <a:rect l="0" t="0" r="0" b="0"/>
          <a:pathLst>
            <a:path>
              <a:moveTo>
                <a:pt x="0" y="0"/>
              </a:moveTo>
              <a:lnTo>
                <a:pt x="0" y="3018043"/>
              </a:lnTo>
              <a:lnTo>
                <a:pt x="143146" y="301804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9E3978-72E6-4B4C-99A3-61C52EDBF7DF}">
      <dsp:nvSpPr>
        <dsp:cNvPr id="0" name=""/>
        <dsp:cNvSpPr/>
      </dsp:nvSpPr>
      <dsp:spPr>
        <a:xfrm>
          <a:off x="4719482" y="1592997"/>
          <a:ext cx="143146" cy="2184374"/>
        </a:xfrm>
        <a:custGeom>
          <a:avLst/>
          <a:gdLst/>
          <a:ahLst/>
          <a:cxnLst/>
          <a:rect l="0" t="0" r="0" b="0"/>
          <a:pathLst>
            <a:path>
              <a:moveTo>
                <a:pt x="0" y="0"/>
              </a:moveTo>
              <a:lnTo>
                <a:pt x="0" y="2184374"/>
              </a:lnTo>
              <a:lnTo>
                <a:pt x="143146" y="218437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A9DBAE-9F13-43A3-8BC6-93890F6D7FA2}">
      <dsp:nvSpPr>
        <dsp:cNvPr id="0" name=""/>
        <dsp:cNvSpPr/>
      </dsp:nvSpPr>
      <dsp:spPr>
        <a:xfrm>
          <a:off x="4719482" y="1592997"/>
          <a:ext cx="143146" cy="1350705"/>
        </a:xfrm>
        <a:custGeom>
          <a:avLst/>
          <a:gdLst/>
          <a:ahLst/>
          <a:cxnLst/>
          <a:rect l="0" t="0" r="0" b="0"/>
          <a:pathLst>
            <a:path>
              <a:moveTo>
                <a:pt x="0" y="0"/>
              </a:moveTo>
              <a:lnTo>
                <a:pt x="0" y="1350705"/>
              </a:lnTo>
              <a:lnTo>
                <a:pt x="143146" y="1350705"/>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E839AA-0DBF-4B23-959E-DECF9D227CD3}">
      <dsp:nvSpPr>
        <dsp:cNvPr id="0" name=""/>
        <dsp:cNvSpPr/>
      </dsp:nvSpPr>
      <dsp:spPr>
        <a:xfrm>
          <a:off x="4719482" y="1592997"/>
          <a:ext cx="143146" cy="517036"/>
        </a:xfrm>
        <a:custGeom>
          <a:avLst/>
          <a:gdLst/>
          <a:ahLst/>
          <a:cxnLst/>
          <a:rect l="0" t="0" r="0" b="0"/>
          <a:pathLst>
            <a:path>
              <a:moveTo>
                <a:pt x="0" y="0"/>
              </a:moveTo>
              <a:lnTo>
                <a:pt x="0" y="517036"/>
              </a:lnTo>
              <a:lnTo>
                <a:pt x="143146" y="51703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5F6BA8-52A0-41A1-90AB-B0408891BFD2}">
      <dsp:nvSpPr>
        <dsp:cNvPr id="0" name=""/>
        <dsp:cNvSpPr/>
      </dsp:nvSpPr>
      <dsp:spPr>
        <a:xfrm>
          <a:off x="5055485" y="729792"/>
          <a:ext cx="91440" cy="200404"/>
        </a:xfrm>
        <a:custGeom>
          <a:avLst/>
          <a:gdLst/>
          <a:ahLst/>
          <a:cxnLst/>
          <a:rect l="0" t="0" r="0" b="0"/>
          <a:pathLst>
            <a:path>
              <a:moveTo>
                <a:pt x="45720" y="0"/>
              </a:moveTo>
              <a:lnTo>
                <a:pt x="45720" y="20040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DA4B9F-6F40-48C5-93BB-3113343246D4}">
      <dsp:nvSpPr>
        <dsp:cNvPr id="0" name=""/>
        <dsp:cNvSpPr/>
      </dsp:nvSpPr>
      <dsp:spPr>
        <a:xfrm>
          <a:off x="3564769" y="1603347"/>
          <a:ext cx="143146" cy="4685381"/>
        </a:xfrm>
        <a:custGeom>
          <a:avLst/>
          <a:gdLst/>
          <a:ahLst/>
          <a:cxnLst/>
          <a:rect l="0" t="0" r="0" b="0"/>
          <a:pathLst>
            <a:path>
              <a:moveTo>
                <a:pt x="0" y="0"/>
              </a:moveTo>
              <a:lnTo>
                <a:pt x="0" y="4685381"/>
              </a:lnTo>
              <a:lnTo>
                <a:pt x="143146" y="468538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CFDBFC-795A-4F2D-B7B4-3E4BD126626F}">
      <dsp:nvSpPr>
        <dsp:cNvPr id="0" name=""/>
        <dsp:cNvSpPr/>
      </dsp:nvSpPr>
      <dsp:spPr>
        <a:xfrm>
          <a:off x="3564769" y="1603347"/>
          <a:ext cx="143146" cy="3851712"/>
        </a:xfrm>
        <a:custGeom>
          <a:avLst/>
          <a:gdLst/>
          <a:ahLst/>
          <a:cxnLst/>
          <a:rect l="0" t="0" r="0" b="0"/>
          <a:pathLst>
            <a:path>
              <a:moveTo>
                <a:pt x="0" y="0"/>
              </a:moveTo>
              <a:lnTo>
                <a:pt x="0" y="3851712"/>
              </a:lnTo>
              <a:lnTo>
                <a:pt x="143146" y="385171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7C81105-A218-4400-97D1-D39E0A33511D}">
      <dsp:nvSpPr>
        <dsp:cNvPr id="0" name=""/>
        <dsp:cNvSpPr/>
      </dsp:nvSpPr>
      <dsp:spPr>
        <a:xfrm>
          <a:off x="3564769" y="1603347"/>
          <a:ext cx="143146" cy="3018043"/>
        </a:xfrm>
        <a:custGeom>
          <a:avLst/>
          <a:gdLst/>
          <a:ahLst/>
          <a:cxnLst/>
          <a:rect l="0" t="0" r="0" b="0"/>
          <a:pathLst>
            <a:path>
              <a:moveTo>
                <a:pt x="0" y="0"/>
              </a:moveTo>
              <a:lnTo>
                <a:pt x="0" y="3018043"/>
              </a:lnTo>
              <a:lnTo>
                <a:pt x="143146" y="301804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250245-CAC4-4AFC-A9EB-65645D9DD6A3}">
      <dsp:nvSpPr>
        <dsp:cNvPr id="0" name=""/>
        <dsp:cNvSpPr/>
      </dsp:nvSpPr>
      <dsp:spPr>
        <a:xfrm>
          <a:off x="3564769" y="1603347"/>
          <a:ext cx="143146" cy="2184374"/>
        </a:xfrm>
        <a:custGeom>
          <a:avLst/>
          <a:gdLst/>
          <a:ahLst/>
          <a:cxnLst/>
          <a:rect l="0" t="0" r="0" b="0"/>
          <a:pathLst>
            <a:path>
              <a:moveTo>
                <a:pt x="0" y="0"/>
              </a:moveTo>
              <a:lnTo>
                <a:pt x="0" y="2184374"/>
              </a:lnTo>
              <a:lnTo>
                <a:pt x="143146" y="218437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ED7F28-45D2-4653-B7F0-1133C01AC81C}">
      <dsp:nvSpPr>
        <dsp:cNvPr id="0" name=""/>
        <dsp:cNvSpPr/>
      </dsp:nvSpPr>
      <dsp:spPr>
        <a:xfrm>
          <a:off x="3564769" y="1603347"/>
          <a:ext cx="143146" cy="1350705"/>
        </a:xfrm>
        <a:custGeom>
          <a:avLst/>
          <a:gdLst/>
          <a:ahLst/>
          <a:cxnLst/>
          <a:rect l="0" t="0" r="0" b="0"/>
          <a:pathLst>
            <a:path>
              <a:moveTo>
                <a:pt x="0" y="0"/>
              </a:moveTo>
              <a:lnTo>
                <a:pt x="0" y="1350705"/>
              </a:lnTo>
              <a:lnTo>
                <a:pt x="143146" y="1350705"/>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8095FC-880D-485B-853A-8198A318E617}">
      <dsp:nvSpPr>
        <dsp:cNvPr id="0" name=""/>
        <dsp:cNvSpPr/>
      </dsp:nvSpPr>
      <dsp:spPr>
        <a:xfrm>
          <a:off x="3564769" y="1603347"/>
          <a:ext cx="143146" cy="517036"/>
        </a:xfrm>
        <a:custGeom>
          <a:avLst/>
          <a:gdLst/>
          <a:ahLst/>
          <a:cxnLst/>
          <a:rect l="0" t="0" r="0" b="0"/>
          <a:pathLst>
            <a:path>
              <a:moveTo>
                <a:pt x="0" y="0"/>
              </a:moveTo>
              <a:lnTo>
                <a:pt x="0" y="517036"/>
              </a:lnTo>
              <a:lnTo>
                <a:pt x="143146" y="51703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56D84C-67C3-4622-8BB3-1E488CB0B127}">
      <dsp:nvSpPr>
        <dsp:cNvPr id="0" name=""/>
        <dsp:cNvSpPr/>
      </dsp:nvSpPr>
      <dsp:spPr>
        <a:xfrm>
          <a:off x="3946493" y="729792"/>
          <a:ext cx="1154712" cy="200404"/>
        </a:xfrm>
        <a:custGeom>
          <a:avLst/>
          <a:gdLst/>
          <a:ahLst/>
          <a:cxnLst/>
          <a:rect l="0" t="0" r="0" b="0"/>
          <a:pathLst>
            <a:path>
              <a:moveTo>
                <a:pt x="1154712" y="0"/>
              </a:moveTo>
              <a:lnTo>
                <a:pt x="1154712" y="100202"/>
              </a:lnTo>
              <a:lnTo>
                <a:pt x="0" y="100202"/>
              </a:lnTo>
              <a:lnTo>
                <a:pt x="0" y="20040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51BB232-3515-434F-A628-A1257B358A40}">
      <dsp:nvSpPr>
        <dsp:cNvPr id="0" name=""/>
        <dsp:cNvSpPr/>
      </dsp:nvSpPr>
      <dsp:spPr>
        <a:xfrm>
          <a:off x="2410057" y="1603351"/>
          <a:ext cx="143146" cy="1437578"/>
        </a:xfrm>
        <a:custGeom>
          <a:avLst/>
          <a:gdLst/>
          <a:ahLst/>
          <a:cxnLst/>
          <a:rect l="0" t="0" r="0" b="0"/>
          <a:pathLst>
            <a:path>
              <a:moveTo>
                <a:pt x="0" y="0"/>
              </a:moveTo>
              <a:lnTo>
                <a:pt x="0" y="1437578"/>
              </a:lnTo>
              <a:lnTo>
                <a:pt x="143146" y="143757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7A3181-64B1-4594-BFFD-BEBFAF8F6045}">
      <dsp:nvSpPr>
        <dsp:cNvPr id="0" name=""/>
        <dsp:cNvSpPr/>
      </dsp:nvSpPr>
      <dsp:spPr>
        <a:xfrm>
          <a:off x="2410057" y="1603351"/>
          <a:ext cx="143146" cy="517036"/>
        </a:xfrm>
        <a:custGeom>
          <a:avLst/>
          <a:gdLst/>
          <a:ahLst/>
          <a:cxnLst/>
          <a:rect l="0" t="0" r="0" b="0"/>
          <a:pathLst>
            <a:path>
              <a:moveTo>
                <a:pt x="0" y="0"/>
              </a:moveTo>
              <a:lnTo>
                <a:pt x="0" y="517036"/>
              </a:lnTo>
              <a:lnTo>
                <a:pt x="143146" y="51703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AFCCBF-4420-4361-A911-2BC5570FF50B}">
      <dsp:nvSpPr>
        <dsp:cNvPr id="0" name=""/>
        <dsp:cNvSpPr/>
      </dsp:nvSpPr>
      <dsp:spPr>
        <a:xfrm>
          <a:off x="2791780" y="729792"/>
          <a:ext cx="2309424" cy="200404"/>
        </a:xfrm>
        <a:custGeom>
          <a:avLst/>
          <a:gdLst/>
          <a:ahLst/>
          <a:cxnLst/>
          <a:rect l="0" t="0" r="0" b="0"/>
          <a:pathLst>
            <a:path>
              <a:moveTo>
                <a:pt x="2309424" y="0"/>
              </a:moveTo>
              <a:lnTo>
                <a:pt x="2309424" y="100202"/>
              </a:lnTo>
              <a:lnTo>
                <a:pt x="0" y="100202"/>
              </a:lnTo>
              <a:lnTo>
                <a:pt x="0" y="20040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E4540C-F354-48C0-A104-18C23515ED78}">
      <dsp:nvSpPr>
        <dsp:cNvPr id="0" name=""/>
        <dsp:cNvSpPr/>
      </dsp:nvSpPr>
      <dsp:spPr>
        <a:xfrm>
          <a:off x="1255344" y="1603351"/>
          <a:ext cx="143146" cy="3773657"/>
        </a:xfrm>
        <a:custGeom>
          <a:avLst/>
          <a:gdLst/>
          <a:ahLst/>
          <a:cxnLst/>
          <a:rect l="0" t="0" r="0" b="0"/>
          <a:pathLst>
            <a:path>
              <a:moveTo>
                <a:pt x="0" y="0"/>
              </a:moveTo>
              <a:lnTo>
                <a:pt x="0" y="3773657"/>
              </a:lnTo>
              <a:lnTo>
                <a:pt x="143146" y="3773657"/>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98C5E-085B-45A9-9C1D-06552D02C74A}">
      <dsp:nvSpPr>
        <dsp:cNvPr id="0" name=""/>
        <dsp:cNvSpPr/>
      </dsp:nvSpPr>
      <dsp:spPr>
        <a:xfrm>
          <a:off x="1255344" y="1603351"/>
          <a:ext cx="143146" cy="3018043"/>
        </a:xfrm>
        <a:custGeom>
          <a:avLst/>
          <a:gdLst/>
          <a:ahLst/>
          <a:cxnLst/>
          <a:rect l="0" t="0" r="0" b="0"/>
          <a:pathLst>
            <a:path>
              <a:moveTo>
                <a:pt x="0" y="0"/>
              </a:moveTo>
              <a:lnTo>
                <a:pt x="0" y="3018043"/>
              </a:lnTo>
              <a:lnTo>
                <a:pt x="143146" y="301804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ADBFE7-3D4F-474D-86C2-0072875EA706}">
      <dsp:nvSpPr>
        <dsp:cNvPr id="0" name=""/>
        <dsp:cNvSpPr/>
      </dsp:nvSpPr>
      <dsp:spPr>
        <a:xfrm>
          <a:off x="1255344" y="1603351"/>
          <a:ext cx="143146" cy="2184374"/>
        </a:xfrm>
        <a:custGeom>
          <a:avLst/>
          <a:gdLst/>
          <a:ahLst/>
          <a:cxnLst/>
          <a:rect l="0" t="0" r="0" b="0"/>
          <a:pathLst>
            <a:path>
              <a:moveTo>
                <a:pt x="0" y="0"/>
              </a:moveTo>
              <a:lnTo>
                <a:pt x="0" y="2184374"/>
              </a:lnTo>
              <a:lnTo>
                <a:pt x="143146" y="218437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EF9996-6A79-4E0A-BC96-C2D0975D10F2}">
      <dsp:nvSpPr>
        <dsp:cNvPr id="0" name=""/>
        <dsp:cNvSpPr/>
      </dsp:nvSpPr>
      <dsp:spPr>
        <a:xfrm>
          <a:off x="1255344" y="1603351"/>
          <a:ext cx="143146" cy="1350705"/>
        </a:xfrm>
        <a:custGeom>
          <a:avLst/>
          <a:gdLst/>
          <a:ahLst/>
          <a:cxnLst/>
          <a:rect l="0" t="0" r="0" b="0"/>
          <a:pathLst>
            <a:path>
              <a:moveTo>
                <a:pt x="0" y="0"/>
              </a:moveTo>
              <a:lnTo>
                <a:pt x="0" y="1350705"/>
              </a:lnTo>
              <a:lnTo>
                <a:pt x="143146" y="1350705"/>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B8351C2-A0DB-4D65-BC7F-C96C9142DE94}">
      <dsp:nvSpPr>
        <dsp:cNvPr id="0" name=""/>
        <dsp:cNvSpPr/>
      </dsp:nvSpPr>
      <dsp:spPr>
        <a:xfrm>
          <a:off x="1255344" y="1603351"/>
          <a:ext cx="143146" cy="517036"/>
        </a:xfrm>
        <a:custGeom>
          <a:avLst/>
          <a:gdLst/>
          <a:ahLst/>
          <a:cxnLst/>
          <a:rect l="0" t="0" r="0" b="0"/>
          <a:pathLst>
            <a:path>
              <a:moveTo>
                <a:pt x="0" y="0"/>
              </a:moveTo>
              <a:lnTo>
                <a:pt x="0" y="517036"/>
              </a:lnTo>
              <a:lnTo>
                <a:pt x="143146" y="51703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CC4A12D-7906-4D57-8BB1-A160846422CA}">
      <dsp:nvSpPr>
        <dsp:cNvPr id="0" name=""/>
        <dsp:cNvSpPr/>
      </dsp:nvSpPr>
      <dsp:spPr>
        <a:xfrm>
          <a:off x="1637068" y="729792"/>
          <a:ext cx="3464137" cy="200404"/>
        </a:xfrm>
        <a:custGeom>
          <a:avLst/>
          <a:gdLst/>
          <a:ahLst/>
          <a:cxnLst/>
          <a:rect l="0" t="0" r="0" b="0"/>
          <a:pathLst>
            <a:path>
              <a:moveTo>
                <a:pt x="3464137" y="0"/>
              </a:moveTo>
              <a:lnTo>
                <a:pt x="3464137" y="100202"/>
              </a:lnTo>
              <a:lnTo>
                <a:pt x="0" y="100202"/>
              </a:lnTo>
              <a:lnTo>
                <a:pt x="0" y="20040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2FA10BA-1EBA-4689-B3D4-3583D5657FB3}">
      <dsp:nvSpPr>
        <dsp:cNvPr id="0" name=""/>
        <dsp:cNvSpPr/>
      </dsp:nvSpPr>
      <dsp:spPr>
        <a:xfrm>
          <a:off x="100632" y="1603351"/>
          <a:ext cx="143146" cy="2106319"/>
        </a:xfrm>
        <a:custGeom>
          <a:avLst/>
          <a:gdLst/>
          <a:ahLst/>
          <a:cxnLst/>
          <a:rect l="0" t="0" r="0" b="0"/>
          <a:pathLst>
            <a:path>
              <a:moveTo>
                <a:pt x="0" y="0"/>
              </a:moveTo>
              <a:lnTo>
                <a:pt x="0" y="2106319"/>
              </a:lnTo>
              <a:lnTo>
                <a:pt x="143146" y="2106319"/>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845BBC-16D5-46BB-9684-35EE829008A0}">
      <dsp:nvSpPr>
        <dsp:cNvPr id="0" name=""/>
        <dsp:cNvSpPr/>
      </dsp:nvSpPr>
      <dsp:spPr>
        <a:xfrm>
          <a:off x="100632" y="1603351"/>
          <a:ext cx="143146" cy="1350705"/>
        </a:xfrm>
        <a:custGeom>
          <a:avLst/>
          <a:gdLst/>
          <a:ahLst/>
          <a:cxnLst/>
          <a:rect l="0" t="0" r="0" b="0"/>
          <a:pathLst>
            <a:path>
              <a:moveTo>
                <a:pt x="0" y="0"/>
              </a:moveTo>
              <a:lnTo>
                <a:pt x="0" y="1350705"/>
              </a:lnTo>
              <a:lnTo>
                <a:pt x="143146" y="1350705"/>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BF61BE6-465E-496A-AFA2-D1C5D63D0857}">
      <dsp:nvSpPr>
        <dsp:cNvPr id="0" name=""/>
        <dsp:cNvSpPr/>
      </dsp:nvSpPr>
      <dsp:spPr>
        <a:xfrm>
          <a:off x="100632" y="1603351"/>
          <a:ext cx="143146" cy="517036"/>
        </a:xfrm>
        <a:custGeom>
          <a:avLst/>
          <a:gdLst/>
          <a:ahLst/>
          <a:cxnLst/>
          <a:rect l="0" t="0" r="0" b="0"/>
          <a:pathLst>
            <a:path>
              <a:moveTo>
                <a:pt x="0" y="0"/>
              </a:moveTo>
              <a:lnTo>
                <a:pt x="0" y="517036"/>
              </a:lnTo>
              <a:lnTo>
                <a:pt x="143146" y="51703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9F3AD5A-A39F-4DEA-8AE0-F10C1E466C92}">
      <dsp:nvSpPr>
        <dsp:cNvPr id="0" name=""/>
        <dsp:cNvSpPr/>
      </dsp:nvSpPr>
      <dsp:spPr>
        <a:xfrm>
          <a:off x="482355" y="729792"/>
          <a:ext cx="4618849" cy="200404"/>
        </a:xfrm>
        <a:custGeom>
          <a:avLst/>
          <a:gdLst/>
          <a:ahLst/>
          <a:cxnLst/>
          <a:rect l="0" t="0" r="0" b="0"/>
          <a:pathLst>
            <a:path>
              <a:moveTo>
                <a:pt x="4618849" y="0"/>
              </a:moveTo>
              <a:lnTo>
                <a:pt x="4618849" y="100202"/>
              </a:lnTo>
              <a:lnTo>
                <a:pt x="0" y="100202"/>
              </a:lnTo>
              <a:lnTo>
                <a:pt x="0" y="20040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765D9-302B-41FA-8B02-A3200280D571}">
      <dsp:nvSpPr>
        <dsp:cNvPr id="0" name=""/>
        <dsp:cNvSpPr/>
      </dsp:nvSpPr>
      <dsp:spPr>
        <a:xfrm>
          <a:off x="3838909" y="252638"/>
          <a:ext cx="2524592" cy="47715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s-PE" sz="1400" b="1" kern="1200" dirty="0" smtClean="0"/>
            <a:t>CONTROL ELECTRÓNICO DEL IGV</a:t>
          </a:r>
          <a:endParaRPr lang="es-PE" sz="1400" kern="1200" dirty="0"/>
        </a:p>
      </dsp:txBody>
      <dsp:txXfrm>
        <a:off x="3838909" y="252638"/>
        <a:ext cx="2524592" cy="477153"/>
      </dsp:txXfrm>
    </dsp:sp>
    <dsp:sp modelId="{5403D548-CF74-42F7-9EA0-AEA67917D21F}">
      <dsp:nvSpPr>
        <dsp:cNvPr id="0" name=""/>
        <dsp:cNvSpPr/>
      </dsp:nvSpPr>
      <dsp:spPr>
        <a:xfrm>
          <a:off x="5201" y="930197"/>
          <a:ext cx="954307" cy="67315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1" kern="1200" dirty="0" smtClean="0"/>
            <a:t>Disponibilidad de Modelos de IGV y PN</a:t>
          </a:r>
          <a:endParaRPr lang="es-PE" sz="1000" kern="1200" dirty="0"/>
        </a:p>
      </dsp:txBody>
      <dsp:txXfrm>
        <a:off x="5201" y="930197"/>
        <a:ext cx="954307" cy="673154"/>
      </dsp:txXfrm>
    </dsp:sp>
    <dsp:sp modelId="{A8248B19-B15E-4BFE-A834-5D85D43FF535}">
      <dsp:nvSpPr>
        <dsp:cNvPr id="0" name=""/>
        <dsp:cNvSpPr/>
      </dsp:nvSpPr>
      <dsp:spPr>
        <a:xfrm>
          <a:off x="243778" y="1803756"/>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Modelo de IGV - </a:t>
          </a:r>
          <a:r>
            <a:rPr lang="es-PE" sz="1000" kern="1200" dirty="0" err="1" smtClean="0"/>
            <a:t>Teradata</a:t>
          </a:r>
          <a:endParaRPr lang="es-PE" sz="1000" kern="1200" dirty="0"/>
        </a:p>
      </dsp:txBody>
      <dsp:txXfrm>
        <a:off x="243778" y="1803756"/>
        <a:ext cx="954307" cy="633264"/>
      </dsp:txXfrm>
    </dsp:sp>
    <dsp:sp modelId="{42923A24-9FF0-47DA-A9BD-3E1050CAF217}">
      <dsp:nvSpPr>
        <dsp:cNvPr id="0" name=""/>
        <dsp:cNvSpPr/>
      </dsp:nvSpPr>
      <dsp:spPr>
        <a:xfrm>
          <a:off x="243778" y="2637425"/>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Modelo de PN – </a:t>
          </a:r>
          <a:r>
            <a:rPr lang="es-PE" sz="1000" kern="1200" dirty="0" err="1" smtClean="0"/>
            <a:t>Teradata</a:t>
          </a:r>
          <a:endParaRPr lang="es-PE" sz="1000" kern="1200" dirty="0"/>
        </a:p>
      </dsp:txBody>
      <dsp:txXfrm>
        <a:off x="243778" y="2637425"/>
        <a:ext cx="954307" cy="633264"/>
      </dsp:txXfrm>
    </dsp:sp>
    <dsp:sp modelId="{29B8DF57-DCEC-467D-B181-AAF34BB64A04}">
      <dsp:nvSpPr>
        <dsp:cNvPr id="0" name=""/>
        <dsp:cNvSpPr/>
      </dsp:nvSpPr>
      <dsp:spPr>
        <a:xfrm>
          <a:off x="243778" y="3471094"/>
          <a:ext cx="954307" cy="47715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Plan de Información de PN</a:t>
          </a:r>
          <a:endParaRPr lang="es-PE" sz="1000" kern="1200" dirty="0"/>
        </a:p>
      </dsp:txBody>
      <dsp:txXfrm>
        <a:off x="243778" y="3471094"/>
        <a:ext cx="954307" cy="477153"/>
      </dsp:txXfrm>
    </dsp:sp>
    <dsp:sp modelId="{8568E507-BC71-4AA2-AE1B-C7136731764A}">
      <dsp:nvSpPr>
        <dsp:cNvPr id="0" name=""/>
        <dsp:cNvSpPr/>
      </dsp:nvSpPr>
      <dsp:spPr>
        <a:xfrm>
          <a:off x="1159914" y="930197"/>
          <a:ext cx="954307" cy="67315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1" kern="1200" dirty="0" smtClean="0"/>
            <a:t>Gestión de Riesgo del Cumplimiento Tributario del IGV</a:t>
          </a:r>
          <a:endParaRPr lang="es-PE" sz="1000" kern="1200" dirty="0"/>
        </a:p>
      </dsp:txBody>
      <dsp:txXfrm>
        <a:off x="1159914" y="930197"/>
        <a:ext cx="954307" cy="673154"/>
      </dsp:txXfrm>
    </dsp:sp>
    <dsp:sp modelId="{5B702B11-CE6D-41B4-9E00-AF6D593397B9}">
      <dsp:nvSpPr>
        <dsp:cNvPr id="0" name=""/>
        <dsp:cNvSpPr/>
      </dsp:nvSpPr>
      <dsp:spPr>
        <a:xfrm>
          <a:off x="1398491" y="1803756"/>
          <a:ext cx="954307" cy="633264"/>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Matriz: Perfil de Riesgo del Contribuyente (PRC)</a:t>
          </a:r>
          <a:endParaRPr lang="es-PE" sz="1000" kern="1200" dirty="0"/>
        </a:p>
      </dsp:txBody>
      <dsp:txXfrm>
        <a:off x="1398491" y="1803756"/>
        <a:ext cx="954307" cy="633264"/>
      </dsp:txXfrm>
    </dsp:sp>
    <dsp:sp modelId="{27DE2BBC-84A6-4853-A483-29AAFE979871}">
      <dsp:nvSpPr>
        <dsp:cNvPr id="0" name=""/>
        <dsp:cNvSpPr/>
      </dsp:nvSpPr>
      <dsp:spPr>
        <a:xfrm>
          <a:off x="1398491" y="2637425"/>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Retroalimentar el PRC</a:t>
          </a:r>
          <a:endParaRPr lang="es-PE" sz="1000" kern="1200" dirty="0"/>
        </a:p>
      </dsp:txBody>
      <dsp:txXfrm>
        <a:off x="1398491" y="2637425"/>
        <a:ext cx="954307" cy="633264"/>
      </dsp:txXfrm>
    </dsp:sp>
    <dsp:sp modelId="{9F04FB61-B8FE-4746-B156-D45F454B2337}">
      <dsp:nvSpPr>
        <dsp:cNvPr id="0" name=""/>
        <dsp:cNvSpPr/>
      </dsp:nvSpPr>
      <dsp:spPr>
        <a:xfrm>
          <a:off x="1398491" y="3471094"/>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Reglas de selección para la gestión masiva y selectiva del IGV</a:t>
          </a:r>
          <a:endParaRPr lang="es-PE" sz="1000" kern="1200" dirty="0"/>
        </a:p>
      </dsp:txBody>
      <dsp:txXfrm>
        <a:off x="1398491" y="3471094"/>
        <a:ext cx="954307" cy="633264"/>
      </dsp:txXfrm>
    </dsp:sp>
    <dsp:sp modelId="{24B56603-6DB6-4387-BEC0-335861524DF8}">
      <dsp:nvSpPr>
        <dsp:cNvPr id="0" name=""/>
        <dsp:cNvSpPr/>
      </dsp:nvSpPr>
      <dsp:spPr>
        <a:xfrm>
          <a:off x="1398491" y="4304763"/>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Incorporar vinculaciones a los ONR</a:t>
          </a:r>
          <a:endParaRPr lang="es-PE" sz="1000" kern="1200" dirty="0"/>
        </a:p>
      </dsp:txBody>
      <dsp:txXfrm>
        <a:off x="1398491" y="4304763"/>
        <a:ext cx="954307" cy="633264"/>
      </dsp:txXfrm>
    </dsp:sp>
    <dsp:sp modelId="{3DD2221E-6403-4756-951F-0FB9C2AC803A}">
      <dsp:nvSpPr>
        <dsp:cNvPr id="0" name=""/>
        <dsp:cNvSpPr/>
      </dsp:nvSpPr>
      <dsp:spPr>
        <a:xfrm>
          <a:off x="1398491" y="5138432"/>
          <a:ext cx="954307" cy="47715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Variables de inconsistencias del RCVE</a:t>
          </a:r>
          <a:endParaRPr lang="es-PE" sz="1000" kern="1200" dirty="0"/>
        </a:p>
      </dsp:txBody>
      <dsp:txXfrm>
        <a:off x="1398491" y="5138432"/>
        <a:ext cx="954307" cy="477153"/>
      </dsp:txXfrm>
    </dsp:sp>
    <dsp:sp modelId="{EA4674C8-EA51-4CF4-8DF9-43F2391F3F74}">
      <dsp:nvSpPr>
        <dsp:cNvPr id="0" name=""/>
        <dsp:cNvSpPr/>
      </dsp:nvSpPr>
      <dsp:spPr>
        <a:xfrm>
          <a:off x="2314626" y="930197"/>
          <a:ext cx="954307" cy="67315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1" kern="1200" dirty="0" smtClean="0"/>
            <a:t>Actualización del Registro Único de Contribuyente</a:t>
          </a:r>
          <a:endParaRPr lang="es-PE" sz="1000" kern="1200" dirty="0"/>
        </a:p>
      </dsp:txBody>
      <dsp:txXfrm>
        <a:off x="2314626" y="930197"/>
        <a:ext cx="954307" cy="673154"/>
      </dsp:txXfrm>
    </dsp:sp>
    <dsp:sp modelId="{23B955C0-50B3-406D-95F7-37562251126D}">
      <dsp:nvSpPr>
        <dsp:cNvPr id="0" name=""/>
        <dsp:cNvSpPr/>
      </dsp:nvSpPr>
      <dsp:spPr>
        <a:xfrm>
          <a:off x="2553203" y="1803756"/>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Campaña de Actualización email y celular </a:t>
          </a:r>
          <a:endParaRPr lang="es-PE" sz="1000" kern="1200" dirty="0"/>
        </a:p>
      </dsp:txBody>
      <dsp:txXfrm>
        <a:off x="2553203" y="1803756"/>
        <a:ext cx="954307" cy="633264"/>
      </dsp:txXfrm>
    </dsp:sp>
    <dsp:sp modelId="{83FCF8B8-7875-4E7A-84AB-1FD8588FFDE7}">
      <dsp:nvSpPr>
        <dsp:cNvPr id="0" name=""/>
        <dsp:cNvSpPr/>
      </dsp:nvSpPr>
      <dsp:spPr>
        <a:xfrm>
          <a:off x="2553203" y="2637425"/>
          <a:ext cx="954307" cy="8070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Procedimiento RUC Activo con la confirmación de capacidad operativa</a:t>
          </a:r>
          <a:endParaRPr lang="es-PE" sz="1000" kern="1200" dirty="0"/>
        </a:p>
      </dsp:txBody>
      <dsp:txXfrm>
        <a:off x="2553203" y="2637425"/>
        <a:ext cx="954307" cy="807010"/>
      </dsp:txXfrm>
    </dsp:sp>
    <dsp:sp modelId="{CF2582DD-F5D9-4379-B9A2-40A989471469}">
      <dsp:nvSpPr>
        <dsp:cNvPr id="0" name=""/>
        <dsp:cNvSpPr/>
      </dsp:nvSpPr>
      <dsp:spPr>
        <a:xfrm>
          <a:off x="3469339" y="930197"/>
          <a:ext cx="954307" cy="673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1" kern="1200" dirty="0" smtClean="0"/>
            <a:t>Controles electrónicos a la autorización y emisión de </a:t>
          </a:r>
          <a:r>
            <a:rPr lang="es-PE" sz="1000" b="1" kern="1200" dirty="0" err="1" smtClean="0"/>
            <a:t>CdP</a:t>
          </a:r>
          <a:endParaRPr lang="es-PE" sz="1000" kern="1200" dirty="0"/>
        </a:p>
      </dsp:txBody>
      <dsp:txXfrm>
        <a:off x="3469339" y="930197"/>
        <a:ext cx="954307" cy="673149"/>
      </dsp:txXfrm>
    </dsp:sp>
    <dsp:sp modelId="{5DDC083A-8D89-43B2-87EB-72A1F25E2F92}">
      <dsp:nvSpPr>
        <dsp:cNvPr id="0" name=""/>
        <dsp:cNvSpPr/>
      </dsp:nvSpPr>
      <dsp:spPr>
        <a:xfrm>
          <a:off x="3707916" y="1803751"/>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Alertas de inconsistencias en el CPE</a:t>
          </a:r>
          <a:endParaRPr lang="es-PE" sz="1000" kern="1200" dirty="0"/>
        </a:p>
      </dsp:txBody>
      <dsp:txXfrm>
        <a:off x="3707916" y="1803751"/>
        <a:ext cx="954307" cy="633264"/>
      </dsp:txXfrm>
    </dsp:sp>
    <dsp:sp modelId="{7A64D23C-BE55-4001-9C11-41AA4C2DF1FC}">
      <dsp:nvSpPr>
        <dsp:cNvPr id="0" name=""/>
        <dsp:cNvSpPr/>
      </dsp:nvSpPr>
      <dsp:spPr>
        <a:xfrm>
          <a:off x="3707916" y="2637420"/>
          <a:ext cx="954307" cy="633264"/>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Restricción a la Autorización de </a:t>
          </a:r>
          <a:r>
            <a:rPr lang="es-PE" sz="1000" kern="1200" dirty="0" err="1" smtClean="0"/>
            <a:t>CdP</a:t>
          </a:r>
          <a:endParaRPr lang="es-PE" sz="1000" kern="1200" dirty="0"/>
        </a:p>
      </dsp:txBody>
      <dsp:txXfrm>
        <a:off x="3707916" y="2637420"/>
        <a:ext cx="954307" cy="633264"/>
      </dsp:txXfrm>
    </dsp:sp>
    <dsp:sp modelId="{5BEF1219-6836-4938-88FE-8FED429B3586}">
      <dsp:nvSpPr>
        <dsp:cNvPr id="0" name=""/>
        <dsp:cNvSpPr/>
      </dsp:nvSpPr>
      <dsp:spPr>
        <a:xfrm>
          <a:off x="3707916" y="3471089"/>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Limitación de </a:t>
          </a:r>
          <a:r>
            <a:rPr lang="es-PE" sz="1000" kern="1200" dirty="0" err="1" smtClean="0"/>
            <a:t>CdP</a:t>
          </a:r>
          <a:r>
            <a:rPr lang="es-PE" sz="1000" kern="1200" dirty="0" smtClean="0"/>
            <a:t> Autorizados</a:t>
          </a:r>
          <a:endParaRPr lang="es-PE" sz="1000" kern="1200" dirty="0"/>
        </a:p>
      </dsp:txBody>
      <dsp:txXfrm>
        <a:off x="3707916" y="3471089"/>
        <a:ext cx="954307" cy="633264"/>
      </dsp:txXfrm>
    </dsp:sp>
    <dsp:sp modelId="{CD609F84-622D-4BE9-9B7B-FA342E920C5E}">
      <dsp:nvSpPr>
        <dsp:cNvPr id="0" name=""/>
        <dsp:cNvSpPr/>
      </dsp:nvSpPr>
      <dsp:spPr>
        <a:xfrm>
          <a:off x="3707916" y="4304758"/>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Restricción a la Emisión de </a:t>
          </a:r>
          <a:r>
            <a:rPr lang="es-PE" sz="1000" kern="1200" dirty="0" err="1" smtClean="0"/>
            <a:t>CdP</a:t>
          </a:r>
          <a:r>
            <a:rPr lang="es-PE" sz="1000" kern="1200" dirty="0" smtClean="0"/>
            <a:t> (web </a:t>
          </a:r>
          <a:r>
            <a:rPr lang="es-PE" sz="1000" kern="1200" dirty="0" err="1" smtClean="0"/>
            <a:t>services</a:t>
          </a:r>
          <a:r>
            <a:rPr lang="es-PE" sz="1000" kern="1200" dirty="0" smtClean="0"/>
            <a:t>)</a:t>
          </a:r>
          <a:endParaRPr lang="es-PE" sz="1000" kern="1200" dirty="0"/>
        </a:p>
      </dsp:txBody>
      <dsp:txXfrm>
        <a:off x="3707916" y="4304758"/>
        <a:ext cx="954307" cy="633264"/>
      </dsp:txXfrm>
    </dsp:sp>
    <dsp:sp modelId="{5107EE37-977C-4172-9AFE-92909ABA8ED7}">
      <dsp:nvSpPr>
        <dsp:cNvPr id="0" name=""/>
        <dsp:cNvSpPr/>
      </dsp:nvSpPr>
      <dsp:spPr>
        <a:xfrm>
          <a:off x="3707916" y="5138427"/>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Restricción a la Emisión de CPE</a:t>
          </a:r>
          <a:endParaRPr lang="es-PE" sz="1000" kern="1200" dirty="0"/>
        </a:p>
      </dsp:txBody>
      <dsp:txXfrm>
        <a:off x="3707916" y="5138427"/>
        <a:ext cx="954307" cy="633264"/>
      </dsp:txXfrm>
    </dsp:sp>
    <dsp:sp modelId="{BB4779EA-0DBB-4ABE-BA6F-344CD770A254}">
      <dsp:nvSpPr>
        <dsp:cNvPr id="0" name=""/>
        <dsp:cNvSpPr/>
      </dsp:nvSpPr>
      <dsp:spPr>
        <a:xfrm>
          <a:off x="3707916" y="5972096"/>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Comprobante de contingencia al CPE</a:t>
          </a:r>
          <a:endParaRPr lang="es-PE" sz="1000" kern="1200" dirty="0"/>
        </a:p>
      </dsp:txBody>
      <dsp:txXfrm>
        <a:off x="3707916" y="5972096"/>
        <a:ext cx="954307" cy="633264"/>
      </dsp:txXfrm>
    </dsp:sp>
    <dsp:sp modelId="{337890B3-6AE4-40D0-956C-DFFC21855FBD}">
      <dsp:nvSpPr>
        <dsp:cNvPr id="0" name=""/>
        <dsp:cNvSpPr/>
      </dsp:nvSpPr>
      <dsp:spPr>
        <a:xfrm>
          <a:off x="4624051" y="930197"/>
          <a:ext cx="954307" cy="66280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1" kern="1200" dirty="0" smtClean="0"/>
            <a:t>Control del registro de compras y ventas electrónico (RCVE)</a:t>
          </a:r>
          <a:endParaRPr lang="es-PE" sz="1000" kern="1200" dirty="0"/>
        </a:p>
      </dsp:txBody>
      <dsp:txXfrm>
        <a:off x="4624051" y="930197"/>
        <a:ext cx="954307" cy="662800"/>
      </dsp:txXfrm>
    </dsp:sp>
    <dsp:sp modelId="{FAAF661C-C933-4474-8A61-B50BBBC14A7D}">
      <dsp:nvSpPr>
        <dsp:cNvPr id="0" name=""/>
        <dsp:cNvSpPr/>
      </dsp:nvSpPr>
      <dsp:spPr>
        <a:xfrm>
          <a:off x="4862628" y="1793402"/>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Campaña de omisos al RVCE</a:t>
          </a:r>
          <a:endParaRPr lang="es-PE" sz="1000" kern="1200" dirty="0"/>
        </a:p>
      </dsp:txBody>
      <dsp:txXfrm>
        <a:off x="4862628" y="1793402"/>
        <a:ext cx="954307" cy="633264"/>
      </dsp:txXfrm>
    </dsp:sp>
    <dsp:sp modelId="{0EE34835-1A70-4C28-A337-BDA611F2BD24}">
      <dsp:nvSpPr>
        <dsp:cNvPr id="0" name=""/>
        <dsp:cNvSpPr/>
      </dsp:nvSpPr>
      <dsp:spPr>
        <a:xfrm>
          <a:off x="4862628" y="2627071"/>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Padrón de omisos a la presentación del RCVE</a:t>
          </a:r>
          <a:endParaRPr lang="es-PE" sz="1000" kern="1200" dirty="0"/>
        </a:p>
      </dsp:txBody>
      <dsp:txXfrm>
        <a:off x="4862628" y="2627071"/>
        <a:ext cx="954307" cy="633264"/>
      </dsp:txXfrm>
    </dsp:sp>
    <dsp:sp modelId="{F4DF54E5-D8B2-4A3D-8B13-8E3A7CBAFDC4}">
      <dsp:nvSpPr>
        <dsp:cNvPr id="0" name=""/>
        <dsp:cNvSpPr/>
      </dsp:nvSpPr>
      <dsp:spPr>
        <a:xfrm>
          <a:off x="4862628" y="3460740"/>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Control de omisos con padrón de RCVE</a:t>
          </a:r>
          <a:endParaRPr lang="es-PE" sz="1000" kern="1200" dirty="0"/>
        </a:p>
      </dsp:txBody>
      <dsp:txXfrm>
        <a:off x="4862628" y="3460740"/>
        <a:ext cx="954307" cy="633264"/>
      </dsp:txXfrm>
    </dsp:sp>
    <dsp:sp modelId="{7010E9D7-AFDD-4AC5-9833-1C3EE0B0C22B}">
      <dsp:nvSpPr>
        <dsp:cNvPr id="0" name=""/>
        <dsp:cNvSpPr/>
      </dsp:nvSpPr>
      <dsp:spPr>
        <a:xfrm>
          <a:off x="4862628" y="4294409"/>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Campaña Masiva de RCVE</a:t>
          </a:r>
          <a:endParaRPr lang="es-PE" sz="1000" kern="1200" dirty="0"/>
        </a:p>
      </dsp:txBody>
      <dsp:txXfrm>
        <a:off x="4862628" y="4294409"/>
        <a:ext cx="954307" cy="633264"/>
      </dsp:txXfrm>
    </dsp:sp>
    <dsp:sp modelId="{14DCA77F-61B9-4D0D-B790-959FFF40C578}">
      <dsp:nvSpPr>
        <dsp:cNvPr id="0" name=""/>
        <dsp:cNvSpPr/>
      </dsp:nvSpPr>
      <dsp:spPr>
        <a:xfrm>
          <a:off x="5778764" y="930197"/>
          <a:ext cx="954307" cy="66280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1" kern="1200" dirty="0" smtClean="0"/>
            <a:t>Control de Declaración IGV - Renta Mensual</a:t>
          </a:r>
          <a:endParaRPr lang="es-PE" sz="1000" kern="1200" dirty="0"/>
        </a:p>
      </dsp:txBody>
      <dsp:txXfrm>
        <a:off x="5778764" y="930197"/>
        <a:ext cx="954307" cy="662800"/>
      </dsp:txXfrm>
    </dsp:sp>
    <dsp:sp modelId="{CCB409D9-17BE-4D52-8CD5-95171BD939A0}">
      <dsp:nvSpPr>
        <dsp:cNvPr id="0" name=""/>
        <dsp:cNvSpPr/>
      </dsp:nvSpPr>
      <dsp:spPr>
        <a:xfrm>
          <a:off x="6017341" y="1793402"/>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Reemplazo de PDT por Declara Fácil con propuesta de DJ</a:t>
          </a:r>
          <a:endParaRPr lang="es-PE" sz="1000" kern="1200" dirty="0"/>
        </a:p>
      </dsp:txBody>
      <dsp:txXfrm>
        <a:off x="6017341" y="1793402"/>
        <a:ext cx="954307" cy="633264"/>
      </dsp:txXfrm>
    </dsp:sp>
    <dsp:sp modelId="{164840EF-D075-49BA-80AC-1E6B1E9AA7D1}">
      <dsp:nvSpPr>
        <dsp:cNvPr id="0" name=""/>
        <dsp:cNvSpPr/>
      </dsp:nvSpPr>
      <dsp:spPr>
        <a:xfrm>
          <a:off x="6017341" y="2627071"/>
          <a:ext cx="954307" cy="987412"/>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0" kern="1200" dirty="0" smtClean="0"/>
            <a:t>Reporte de consistencia del crédito presentado en el RCE con el Declara Fácil IGV Renta Mensual</a:t>
          </a:r>
          <a:endParaRPr lang="es-PE" sz="1000" kern="1200" dirty="0"/>
        </a:p>
      </dsp:txBody>
      <dsp:txXfrm>
        <a:off x="6017341" y="2627071"/>
        <a:ext cx="954307" cy="987412"/>
      </dsp:txXfrm>
    </dsp:sp>
    <dsp:sp modelId="{B6D71253-74DD-43DA-A2AD-C109F3DFD760}">
      <dsp:nvSpPr>
        <dsp:cNvPr id="0" name=""/>
        <dsp:cNvSpPr/>
      </dsp:nvSpPr>
      <dsp:spPr>
        <a:xfrm>
          <a:off x="6017341" y="3814888"/>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Determinación de omisos a la DJ del IGV Renta Mensual</a:t>
          </a:r>
          <a:endParaRPr lang="es-PE" sz="1000" kern="1200" dirty="0"/>
        </a:p>
      </dsp:txBody>
      <dsp:txXfrm>
        <a:off x="6017341" y="3814888"/>
        <a:ext cx="954307" cy="633264"/>
      </dsp:txXfrm>
    </dsp:sp>
    <dsp:sp modelId="{B00093B9-2203-43F2-A035-A931774A0873}">
      <dsp:nvSpPr>
        <dsp:cNvPr id="0" name=""/>
        <dsp:cNvSpPr/>
      </dsp:nvSpPr>
      <dsp:spPr>
        <a:xfrm>
          <a:off x="6017341" y="4648557"/>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Actualización en línea de las presentaciones de DJ - MEPECO</a:t>
          </a:r>
          <a:endParaRPr lang="es-PE" sz="1000" kern="1200" dirty="0"/>
        </a:p>
      </dsp:txBody>
      <dsp:txXfrm>
        <a:off x="6017341" y="4648557"/>
        <a:ext cx="954307" cy="633264"/>
      </dsp:txXfrm>
    </dsp:sp>
    <dsp:sp modelId="{429E6F42-71A5-4822-B7AC-EF9BE8857790}">
      <dsp:nvSpPr>
        <dsp:cNvPr id="0" name=""/>
        <dsp:cNvSpPr/>
      </dsp:nvSpPr>
      <dsp:spPr>
        <a:xfrm>
          <a:off x="6933476" y="930197"/>
          <a:ext cx="954307" cy="69943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1" kern="1200" dirty="0" smtClean="0"/>
            <a:t>Fiscalización: Gestión Masiva de Inconsistencias</a:t>
          </a:r>
          <a:endParaRPr lang="es-PE" sz="1000" kern="1200" dirty="0"/>
        </a:p>
      </dsp:txBody>
      <dsp:txXfrm>
        <a:off x="6933476" y="930197"/>
        <a:ext cx="954307" cy="699436"/>
      </dsp:txXfrm>
    </dsp:sp>
    <dsp:sp modelId="{B93231A2-9AC7-40CB-960A-1F0A9D68B86C}">
      <dsp:nvSpPr>
        <dsp:cNvPr id="0" name=""/>
        <dsp:cNvSpPr/>
      </dsp:nvSpPr>
      <dsp:spPr>
        <a:xfrm>
          <a:off x="7172053" y="1830038"/>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Programa de Gestión Masiva de Inconsistencias RCVE</a:t>
          </a:r>
          <a:endParaRPr lang="es-PE" sz="1000" kern="1200" dirty="0"/>
        </a:p>
      </dsp:txBody>
      <dsp:txXfrm>
        <a:off x="7172053" y="1830038"/>
        <a:ext cx="954307" cy="633264"/>
      </dsp:txXfrm>
    </dsp:sp>
    <dsp:sp modelId="{54225024-149D-4187-9B46-BAF28ED40CB2}">
      <dsp:nvSpPr>
        <dsp:cNvPr id="0" name=""/>
        <dsp:cNvSpPr/>
      </dsp:nvSpPr>
      <dsp:spPr>
        <a:xfrm>
          <a:off x="7172053" y="2663707"/>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Nuevo CCV que integra el Gema WEB                                                                                                                                                                                                                                                                                    </a:t>
          </a:r>
          <a:endParaRPr lang="es-PE" sz="1000" kern="1200" dirty="0"/>
        </a:p>
      </dsp:txBody>
      <dsp:txXfrm>
        <a:off x="7172053" y="2663707"/>
        <a:ext cx="954307" cy="633264"/>
      </dsp:txXfrm>
    </dsp:sp>
    <dsp:sp modelId="{7B9450D2-E45A-44CB-BEAD-4AC865E140D0}">
      <dsp:nvSpPr>
        <dsp:cNvPr id="0" name=""/>
        <dsp:cNvSpPr/>
      </dsp:nvSpPr>
      <dsp:spPr>
        <a:xfrm>
          <a:off x="7172053" y="3497376"/>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Gestionar a través del SINE y SIEV las cartas inductivas</a:t>
          </a:r>
          <a:endParaRPr lang="es-PE" sz="1000" kern="1200" dirty="0"/>
        </a:p>
      </dsp:txBody>
      <dsp:txXfrm>
        <a:off x="7172053" y="3497376"/>
        <a:ext cx="954307" cy="633264"/>
      </dsp:txXfrm>
    </dsp:sp>
    <dsp:sp modelId="{A553870E-2E7F-46B5-B678-9D7A0ED4C5D0}">
      <dsp:nvSpPr>
        <dsp:cNvPr id="0" name=""/>
        <dsp:cNvSpPr/>
      </dsp:nvSpPr>
      <dsp:spPr>
        <a:xfrm>
          <a:off x="7172053" y="4331045"/>
          <a:ext cx="954307" cy="81031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Utilización del CRM como soporte a las campañas de gestión inductiva</a:t>
          </a:r>
          <a:endParaRPr lang="es-PE" sz="1000" kern="1200" dirty="0"/>
        </a:p>
      </dsp:txBody>
      <dsp:txXfrm>
        <a:off x="7172053" y="4331045"/>
        <a:ext cx="954307" cy="810317"/>
      </dsp:txXfrm>
    </dsp:sp>
    <dsp:sp modelId="{DF978ED3-101A-4A47-A40D-C7CA39F6E736}">
      <dsp:nvSpPr>
        <dsp:cNvPr id="0" name=""/>
        <dsp:cNvSpPr/>
      </dsp:nvSpPr>
      <dsp:spPr>
        <a:xfrm>
          <a:off x="8088189" y="930197"/>
          <a:ext cx="954307" cy="69943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1" kern="1200" dirty="0" smtClean="0"/>
            <a:t>Fiscalización: Gestión Selectiva de control del IGV</a:t>
          </a:r>
          <a:endParaRPr lang="es-PE" sz="1000" kern="1200" dirty="0"/>
        </a:p>
      </dsp:txBody>
      <dsp:txXfrm>
        <a:off x="8088189" y="930197"/>
        <a:ext cx="954307" cy="699436"/>
      </dsp:txXfrm>
    </dsp:sp>
    <dsp:sp modelId="{365EA09E-A2C5-4853-93D2-D3F70EBFB5C1}">
      <dsp:nvSpPr>
        <dsp:cNvPr id="0" name=""/>
        <dsp:cNvSpPr/>
      </dsp:nvSpPr>
      <dsp:spPr>
        <a:xfrm>
          <a:off x="8326765" y="1830038"/>
          <a:ext cx="954307" cy="706722"/>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Seleccionar contribuyentes para el control del crédito fiscal</a:t>
          </a:r>
          <a:endParaRPr lang="es-PE" sz="1000" kern="1200" dirty="0"/>
        </a:p>
      </dsp:txBody>
      <dsp:txXfrm>
        <a:off x="8326765" y="1830038"/>
        <a:ext cx="954307" cy="706722"/>
      </dsp:txXfrm>
    </dsp:sp>
    <dsp:sp modelId="{EF1627D7-ACEC-487F-A3FA-2C465C84CFD4}">
      <dsp:nvSpPr>
        <dsp:cNvPr id="0" name=""/>
        <dsp:cNvSpPr/>
      </dsp:nvSpPr>
      <dsp:spPr>
        <a:xfrm>
          <a:off x="8326765" y="2737164"/>
          <a:ext cx="954307" cy="1012496"/>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Seleccionar contribuyentes para el control del incremento patrimonial no justificado</a:t>
          </a:r>
          <a:endParaRPr lang="es-PE" sz="1000" kern="1200" dirty="0"/>
        </a:p>
      </dsp:txBody>
      <dsp:txXfrm>
        <a:off x="8326765" y="2737164"/>
        <a:ext cx="954307" cy="1012496"/>
      </dsp:txXfrm>
    </dsp:sp>
    <dsp:sp modelId="{F5CECA5E-DFEE-44F1-AA9B-8AFB32F046D0}">
      <dsp:nvSpPr>
        <dsp:cNvPr id="0" name=""/>
        <dsp:cNvSpPr/>
      </dsp:nvSpPr>
      <dsp:spPr>
        <a:xfrm>
          <a:off x="8326765" y="3950066"/>
          <a:ext cx="954307" cy="699822"/>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Implementar formato y receptor del flujo de caja en portal de la SUNAT</a:t>
          </a:r>
          <a:endParaRPr lang="es-PE" sz="1000" kern="1200" dirty="0"/>
        </a:p>
      </dsp:txBody>
      <dsp:txXfrm>
        <a:off x="8326765" y="3950066"/>
        <a:ext cx="954307" cy="699822"/>
      </dsp:txXfrm>
    </dsp:sp>
    <dsp:sp modelId="{0050A19F-6838-409C-9FC1-8A36A5966ECA}">
      <dsp:nvSpPr>
        <dsp:cNvPr id="0" name=""/>
        <dsp:cNvSpPr/>
      </dsp:nvSpPr>
      <dsp:spPr>
        <a:xfrm>
          <a:off x="8326765" y="4850293"/>
          <a:ext cx="954307" cy="63326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Programa de control del IGV</a:t>
          </a:r>
          <a:endParaRPr lang="es-PE" sz="1000" kern="1200" dirty="0"/>
        </a:p>
      </dsp:txBody>
      <dsp:txXfrm>
        <a:off x="8326765" y="4850293"/>
        <a:ext cx="954307" cy="633264"/>
      </dsp:txXfrm>
    </dsp:sp>
    <dsp:sp modelId="{A5C7991E-014C-4149-8E07-AEF9E2C8B17C}">
      <dsp:nvSpPr>
        <dsp:cNvPr id="0" name=""/>
        <dsp:cNvSpPr/>
      </dsp:nvSpPr>
      <dsp:spPr>
        <a:xfrm>
          <a:off x="9242901" y="930197"/>
          <a:ext cx="954307" cy="69943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b="1" kern="1200" dirty="0" smtClean="0"/>
            <a:t>Fiscalización Parcial Electrónica del IGV</a:t>
          </a:r>
          <a:endParaRPr lang="es-PE" sz="1000" kern="1200" dirty="0"/>
        </a:p>
      </dsp:txBody>
      <dsp:txXfrm>
        <a:off x="9242901" y="930197"/>
        <a:ext cx="954307" cy="699436"/>
      </dsp:txXfrm>
    </dsp:sp>
    <dsp:sp modelId="{2D1B589F-B938-440D-940F-63177CA73599}">
      <dsp:nvSpPr>
        <dsp:cNvPr id="0" name=""/>
        <dsp:cNvSpPr/>
      </dsp:nvSpPr>
      <dsp:spPr>
        <a:xfrm>
          <a:off x="9481478" y="1830038"/>
          <a:ext cx="954307" cy="89634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Piloto de fiscalización parcial electrónica de comprobantes duplicados</a:t>
          </a:r>
          <a:endParaRPr lang="es-PE" sz="1000" kern="1200" dirty="0"/>
        </a:p>
      </dsp:txBody>
      <dsp:txXfrm>
        <a:off x="9481478" y="1830038"/>
        <a:ext cx="954307" cy="896347"/>
      </dsp:txXfrm>
    </dsp:sp>
    <dsp:sp modelId="{9C6450EA-3783-4D99-88A4-86D3FC37C055}">
      <dsp:nvSpPr>
        <dsp:cNvPr id="0" name=""/>
        <dsp:cNvSpPr/>
      </dsp:nvSpPr>
      <dsp:spPr>
        <a:xfrm>
          <a:off x="9481478" y="2926790"/>
          <a:ext cx="954307" cy="77614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smtClean="0"/>
            <a:t>Fiscalización parcial electrónica de diferencias entre RCVE y DJ de IGV</a:t>
          </a:r>
          <a:endParaRPr lang="es-PE" sz="1000" kern="1200" dirty="0"/>
        </a:p>
      </dsp:txBody>
      <dsp:txXfrm>
        <a:off x="9481478" y="2926790"/>
        <a:ext cx="954307" cy="7761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EF32A7-17CE-4B7B-829A-1B338975B341}">
      <dsp:nvSpPr>
        <dsp:cNvPr id="0" name=""/>
        <dsp:cNvSpPr/>
      </dsp:nvSpPr>
      <dsp:spPr>
        <a:xfrm>
          <a:off x="778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s-PE" sz="3500" kern="1200" dirty="0"/>
            <a:t>Recaudación</a:t>
          </a:r>
        </a:p>
      </dsp:txBody>
      <dsp:txXfrm>
        <a:off x="46740" y="39556"/>
        <a:ext cx="3069579" cy="1252135"/>
      </dsp:txXfrm>
    </dsp:sp>
    <dsp:sp modelId="{2C135EC1-15EA-48BB-B3FB-FF94EC2D8472}">
      <dsp:nvSpPr>
        <dsp:cNvPr id="0" name=""/>
        <dsp:cNvSpPr/>
      </dsp:nvSpPr>
      <dsp:spPr>
        <a:xfrm>
          <a:off x="778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Omisos a la presentación MEPECO (Matriz)</a:t>
          </a:r>
        </a:p>
        <a:p>
          <a:pPr lvl="0" algn="ctr" defTabSz="800100">
            <a:lnSpc>
              <a:spcPct val="90000"/>
            </a:lnSpc>
            <a:spcBef>
              <a:spcPct val="0"/>
            </a:spcBef>
            <a:spcAft>
              <a:spcPct val="35000"/>
            </a:spcAft>
          </a:pPr>
          <a:r>
            <a:rPr lang="es-PE" sz="1800" kern="1200" dirty="0"/>
            <a:t>Actualización en línea de las </a:t>
          </a:r>
          <a:r>
            <a:rPr lang="es-PE" sz="1800" kern="1200" dirty="0" err="1"/>
            <a:t>DDJJs</a:t>
          </a:r>
          <a:r>
            <a:rPr lang="es-PE" sz="1800" kern="1200" dirty="0"/>
            <a:t> -  MEPECO</a:t>
          </a:r>
        </a:p>
      </dsp:txBody>
      <dsp:txXfrm>
        <a:off x="46740" y="1549601"/>
        <a:ext cx="3069579" cy="1252135"/>
      </dsp:txXfrm>
    </dsp:sp>
    <dsp:sp modelId="{DFACD8F4-1996-450B-BC49-E2C983DD46AA}">
      <dsp:nvSpPr>
        <dsp:cNvPr id="0" name=""/>
        <dsp:cNvSpPr/>
      </dsp:nvSpPr>
      <dsp:spPr>
        <a:xfrm>
          <a:off x="778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Wilfredo Albarracín / Marcela Vargas</a:t>
          </a:r>
        </a:p>
      </dsp:txBody>
      <dsp:txXfrm>
        <a:off x="46740" y="3059646"/>
        <a:ext cx="3069579" cy="1252135"/>
      </dsp:txXfrm>
    </dsp:sp>
    <dsp:sp modelId="{D5B602A8-EED3-4E5D-9AF2-C330E79347F2}">
      <dsp:nvSpPr>
        <dsp:cNvPr id="0" name=""/>
        <dsp:cNvSpPr/>
      </dsp:nvSpPr>
      <dsp:spPr>
        <a:xfrm>
          <a:off x="368405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s-PE" sz="3500" kern="1200" dirty="0"/>
            <a:t>Control de la Deuda</a:t>
          </a:r>
        </a:p>
      </dsp:txBody>
      <dsp:txXfrm>
        <a:off x="3723010" y="39556"/>
        <a:ext cx="3069579" cy="1252135"/>
      </dsp:txXfrm>
    </dsp:sp>
    <dsp:sp modelId="{004842DE-3501-4EC8-B1CF-4FB17DAA820C}">
      <dsp:nvSpPr>
        <dsp:cNvPr id="0" name=""/>
        <dsp:cNvSpPr/>
      </dsp:nvSpPr>
      <dsp:spPr>
        <a:xfrm>
          <a:off x="368405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Omisos a la presentación PRICO (Matriz)</a:t>
          </a:r>
        </a:p>
      </dsp:txBody>
      <dsp:txXfrm>
        <a:off x="3723010" y="1549601"/>
        <a:ext cx="3069579" cy="1252135"/>
      </dsp:txXfrm>
    </dsp:sp>
    <dsp:sp modelId="{EF53CE44-510D-45EE-90E8-27387DB960B2}">
      <dsp:nvSpPr>
        <dsp:cNvPr id="0" name=""/>
        <dsp:cNvSpPr/>
      </dsp:nvSpPr>
      <dsp:spPr>
        <a:xfrm>
          <a:off x="368405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Wilfredo Albarracín / Marcela Vargas</a:t>
          </a:r>
        </a:p>
      </dsp:txBody>
      <dsp:txXfrm>
        <a:off x="3723010" y="3059646"/>
        <a:ext cx="3069579" cy="1252135"/>
      </dsp:txXfrm>
    </dsp:sp>
    <dsp:sp modelId="{AC955F4A-A52C-40DB-88F4-CA9902D1714A}">
      <dsp:nvSpPr>
        <dsp:cNvPr id="0" name=""/>
        <dsp:cNvSpPr/>
      </dsp:nvSpPr>
      <dsp:spPr>
        <a:xfrm>
          <a:off x="736032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s-PE" sz="3500" kern="1200" dirty="0"/>
            <a:t>Registro</a:t>
          </a:r>
        </a:p>
      </dsp:txBody>
      <dsp:txXfrm>
        <a:off x="7399280" y="39556"/>
        <a:ext cx="3069579" cy="1252135"/>
      </dsp:txXfrm>
    </dsp:sp>
    <dsp:sp modelId="{C0DECA72-7967-4635-94D0-A4D6D534EAF2}">
      <dsp:nvSpPr>
        <dsp:cNvPr id="0" name=""/>
        <dsp:cNvSpPr/>
      </dsp:nvSpPr>
      <dsp:spPr>
        <a:xfrm>
          <a:off x="736032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Estado del Contribuyente / Cond. de Domicilio (Matriz)</a:t>
          </a:r>
        </a:p>
        <a:p>
          <a:pPr lvl="0" algn="ctr" defTabSz="800100">
            <a:lnSpc>
              <a:spcPct val="90000"/>
            </a:lnSpc>
            <a:spcBef>
              <a:spcPct val="0"/>
            </a:spcBef>
            <a:spcAft>
              <a:spcPct val="35000"/>
            </a:spcAft>
          </a:pPr>
          <a:r>
            <a:rPr lang="es-PE" sz="1800" kern="1200" dirty="0"/>
            <a:t>Restricción a la Autorización de CP Físico</a:t>
          </a:r>
        </a:p>
      </dsp:txBody>
      <dsp:txXfrm>
        <a:off x="7399280" y="1549601"/>
        <a:ext cx="3069579" cy="1252135"/>
      </dsp:txXfrm>
    </dsp:sp>
    <dsp:sp modelId="{2CD69DA4-623C-4527-8CF0-C03E25CFD0F0}">
      <dsp:nvSpPr>
        <dsp:cNvPr id="0" name=""/>
        <dsp:cNvSpPr/>
      </dsp:nvSpPr>
      <dsp:spPr>
        <a:xfrm>
          <a:off x="736032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Wilfredo Albarracín / Marcela Vargas</a:t>
          </a:r>
        </a:p>
      </dsp:txBody>
      <dsp:txXfrm>
        <a:off x="7399280" y="3059646"/>
        <a:ext cx="3069579" cy="12521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EF32A7-17CE-4B7B-829A-1B338975B341}">
      <dsp:nvSpPr>
        <dsp:cNvPr id="0" name=""/>
        <dsp:cNvSpPr/>
      </dsp:nvSpPr>
      <dsp:spPr>
        <a:xfrm>
          <a:off x="778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s-PE" sz="3500" kern="1200" dirty="0"/>
            <a:t>Comprobantes de Pago</a:t>
          </a:r>
        </a:p>
      </dsp:txBody>
      <dsp:txXfrm>
        <a:off x="46740" y="39556"/>
        <a:ext cx="3069579" cy="1252135"/>
      </dsp:txXfrm>
    </dsp:sp>
    <dsp:sp modelId="{2C135EC1-15EA-48BB-B3FB-FF94EC2D8472}">
      <dsp:nvSpPr>
        <dsp:cNvPr id="0" name=""/>
        <dsp:cNvSpPr/>
      </dsp:nvSpPr>
      <dsp:spPr>
        <a:xfrm>
          <a:off x="778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Padrón LE</a:t>
          </a:r>
        </a:p>
        <a:p>
          <a:pPr lvl="0" algn="ctr" defTabSz="800100">
            <a:lnSpc>
              <a:spcPct val="90000"/>
            </a:lnSpc>
            <a:spcBef>
              <a:spcPct val="0"/>
            </a:spcBef>
            <a:spcAft>
              <a:spcPct val="35000"/>
            </a:spcAft>
          </a:pPr>
          <a:r>
            <a:rPr lang="es-PE" sz="1800" kern="1200" dirty="0"/>
            <a:t>Omiso a LE (Matriz)</a:t>
          </a:r>
        </a:p>
        <a:p>
          <a:pPr lvl="0" algn="ctr" defTabSz="800100">
            <a:lnSpc>
              <a:spcPct val="90000"/>
            </a:lnSpc>
            <a:spcBef>
              <a:spcPct val="0"/>
            </a:spcBef>
            <a:spcAft>
              <a:spcPct val="35000"/>
            </a:spcAft>
          </a:pPr>
          <a:r>
            <a:rPr lang="es-PE" sz="1800" kern="1200" dirty="0"/>
            <a:t>Validar Emisión CPE</a:t>
          </a:r>
        </a:p>
      </dsp:txBody>
      <dsp:txXfrm>
        <a:off x="46740" y="1549601"/>
        <a:ext cx="3069579" cy="1252135"/>
      </dsp:txXfrm>
    </dsp:sp>
    <dsp:sp modelId="{DFACD8F4-1996-450B-BC49-E2C983DD46AA}">
      <dsp:nvSpPr>
        <dsp:cNvPr id="0" name=""/>
        <dsp:cNvSpPr/>
      </dsp:nvSpPr>
      <dsp:spPr>
        <a:xfrm>
          <a:off x="778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Wilfredo Albarracín / Marcela Vargas / Michael Ruiz / Elvira Truel</a:t>
          </a:r>
        </a:p>
      </dsp:txBody>
      <dsp:txXfrm>
        <a:off x="46740" y="3059646"/>
        <a:ext cx="3069579" cy="1252135"/>
      </dsp:txXfrm>
    </dsp:sp>
    <dsp:sp modelId="{D5B602A8-EED3-4E5D-9AF2-C330E79347F2}">
      <dsp:nvSpPr>
        <dsp:cNvPr id="0" name=""/>
        <dsp:cNvSpPr/>
      </dsp:nvSpPr>
      <dsp:spPr>
        <a:xfrm>
          <a:off x="368405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s-PE" sz="3500" kern="1200" dirty="0"/>
            <a:t>Fiscalización</a:t>
          </a:r>
        </a:p>
      </dsp:txBody>
      <dsp:txXfrm>
        <a:off x="3723010" y="39556"/>
        <a:ext cx="3069579" cy="1252135"/>
      </dsp:txXfrm>
    </dsp:sp>
    <dsp:sp modelId="{004842DE-3501-4EC8-B1CF-4FB17DAA820C}">
      <dsp:nvSpPr>
        <dsp:cNvPr id="0" name=""/>
        <dsp:cNvSpPr/>
      </dsp:nvSpPr>
      <dsp:spPr>
        <a:xfrm>
          <a:off x="368405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Fiscalización Parcial Electrónica</a:t>
          </a:r>
        </a:p>
        <a:p>
          <a:pPr lvl="0" algn="ctr" defTabSz="800100">
            <a:lnSpc>
              <a:spcPct val="90000"/>
            </a:lnSpc>
            <a:spcBef>
              <a:spcPct val="0"/>
            </a:spcBef>
            <a:spcAft>
              <a:spcPct val="35000"/>
            </a:spcAft>
          </a:pPr>
          <a:r>
            <a:rPr lang="es-PE" sz="1800" kern="1200" dirty="0"/>
            <a:t>Centro Control U. Virtual</a:t>
          </a:r>
        </a:p>
      </dsp:txBody>
      <dsp:txXfrm>
        <a:off x="3723010" y="1549601"/>
        <a:ext cx="3069579" cy="1252135"/>
      </dsp:txXfrm>
    </dsp:sp>
    <dsp:sp modelId="{EF53CE44-510D-45EE-90E8-27387DB960B2}">
      <dsp:nvSpPr>
        <dsp:cNvPr id="0" name=""/>
        <dsp:cNvSpPr/>
      </dsp:nvSpPr>
      <dsp:spPr>
        <a:xfrm>
          <a:off x="368405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Wilfredo Albarracín / Marcela Vargas / Elvira Truel</a:t>
          </a:r>
        </a:p>
      </dsp:txBody>
      <dsp:txXfrm>
        <a:off x="3723010" y="3059646"/>
        <a:ext cx="3069579" cy="1252135"/>
      </dsp:txXfrm>
    </dsp:sp>
    <dsp:sp modelId="{AC955F4A-A52C-40DB-88F4-CA9902D1714A}">
      <dsp:nvSpPr>
        <dsp:cNvPr id="0" name=""/>
        <dsp:cNvSpPr/>
      </dsp:nvSpPr>
      <dsp:spPr>
        <a:xfrm>
          <a:off x="736032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s-PE" sz="3500" kern="1200" dirty="0"/>
            <a:t>Analítico</a:t>
          </a:r>
        </a:p>
      </dsp:txBody>
      <dsp:txXfrm>
        <a:off x="7399280" y="39556"/>
        <a:ext cx="3069579" cy="1252135"/>
      </dsp:txXfrm>
    </dsp:sp>
    <dsp:sp modelId="{C0DECA72-7967-4635-94D0-A4D6D534EAF2}">
      <dsp:nvSpPr>
        <dsp:cNvPr id="0" name=""/>
        <dsp:cNvSpPr/>
      </dsp:nvSpPr>
      <dsp:spPr>
        <a:xfrm>
          <a:off x="736032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Modelo de IGV / Modelo de PPNN</a:t>
          </a:r>
        </a:p>
        <a:p>
          <a:pPr lvl="0" algn="ctr" defTabSz="800100">
            <a:lnSpc>
              <a:spcPct val="90000"/>
            </a:lnSpc>
            <a:spcBef>
              <a:spcPct val="0"/>
            </a:spcBef>
            <a:spcAft>
              <a:spcPct val="35000"/>
            </a:spcAft>
          </a:pPr>
          <a:r>
            <a:rPr lang="es-PE" sz="1800" kern="1200" dirty="0"/>
            <a:t>Servicio de validación de la Matriz</a:t>
          </a:r>
        </a:p>
      </dsp:txBody>
      <dsp:txXfrm>
        <a:off x="7399280" y="1549601"/>
        <a:ext cx="3069579" cy="1252135"/>
      </dsp:txXfrm>
    </dsp:sp>
    <dsp:sp modelId="{2CD69DA4-623C-4527-8CF0-C03E25CFD0F0}">
      <dsp:nvSpPr>
        <dsp:cNvPr id="0" name=""/>
        <dsp:cNvSpPr/>
      </dsp:nvSpPr>
      <dsp:spPr>
        <a:xfrm>
          <a:off x="736032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PE" sz="1800" kern="1200" dirty="0"/>
            <a:t>José </a:t>
          </a:r>
          <a:r>
            <a:rPr lang="es-PE" sz="1800" kern="1200" dirty="0" err="1"/>
            <a:t>AndréWilfredo</a:t>
          </a:r>
          <a:r>
            <a:rPr lang="es-PE" sz="1800" kern="1200" dirty="0"/>
            <a:t> Albarracín / Marcela Vargas</a:t>
          </a:r>
        </a:p>
      </dsp:txBody>
      <dsp:txXfrm>
        <a:off x="7399280" y="3059646"/>
        <a:ext cx="3069579" cy="125213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B8114D-63E3-4853-8BB1-A89F2A9C6EF5}" type="datetimeFigureOut">
              <a:rPr lang="en-US" smtClean="0"/>
              <a:pPr/>
              <a:t>4/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1E2216-F522-4A9E-AC76-4EB2534C56AD}" type="slidenum">
              <a:rPr lang="en-US" smtClean="0"/>
              <a:pPr/>
              <a:t>‹Nº›</a:t>
            </a:fld>
            <a:endParaRPr lang="en-US"/>
          </a:p>
        </p:txBody>
      </p:sp>
    </p:spTree>
    <p:extLst>
      <p:ext uri="{BB962C8B-B14F-4D97-AF65-F5344CB8AC3E}">
        <p14:creationId xmlns:p14="http://schemas.microsoft.com/office/powerpoint/2010/main" val="2644929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a:t>
            </a:r>
            <a:r>
              <a:rPr lang="en-US" baseline="0" dirty="0"/>
              <a:t> use this deck as a preparation tool to better understand a customer’s on premise workloads and cost estimates for running them. There is also a video accompanying this deck that walks partners through each slide and provides more context. </a:t>
            </a:r>
            <a:endParaRPr lang="en-US" dirty="0"/>
          </a:p>
        </p:txBody>
      </p:sp>
      <p:sp>
        <p:nvSpPr>
          <p:cNvPr id="4" name="Header Placeholder 3"/>
          <p:cNvSpPr>
            <a:spLocks noGrp="1"/>
          </p:cNvSpPr>
          <p:nvPr>
            <p:ph type="hdr" sz="quarter" idx="10"/>
          </p:nvPr>
        </p:nvSpPr>
        <p:spPr/>
        <p:txBody>
          <a:bodyPr/>
          <a:lstStyle/>
          <a:p>
            <a:pPr defTabSz="924641">
              <a:defRPr/>
            </a:pPr>
            <a:endParaRPr lang="en-US" dirty="0">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15476"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5476"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24641">
              <a:defRPr/>
            </a:pPr>
            <a:fld id="{17F85167-332A-4B11-B266-BA1F39315970}" type="datetime1">
              <a:rPr lang="en-US">
                <a:solidFill>
                  <a:prstClr val="black"/>
                </a:solidFill>
                <a:latin typeface="Calibri" panose="020F0502020204030204"/>
              </a:rPr>
              <a:pPr defTabSz="924641">
                <a:defRPr/>
              </a:pPr>
              <a:t>4/16/2018</a:t>
            </a:fld>
            <a:endParaRPr lang="en-US" dirty="0">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24641">
              <a:defRPr/>
            </a:pPr>
            <a:fld id="{B4008EB6-D09E-4580-8CD6-DDB14511944F}" type="slidenum">
              <a:rPr lang="en-US">
                <a:solidFill>
                  <a:prstClr val="black"/>
                </a:solidFill>
                <a:latin typeface="Calibri" panose="020F0502020204030204"/>
              </a:rPr>
              <a:pPr defTabSz="924641">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1562422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10</a:t>
            </a:fld>
            <a:endParaRPr lang="en-US"/>
          </a:p>
        </p:txBody>
      </p:sp>
    </p:spTree>
    <p:extLst>
      <p:ext uri="{BB962C8B-B14F-4D97-AF65-F5344CB8AC3E}">
        <p14:creationId xmlns:p14="http://schemas.microsoft.com/office/powerpoint/2010/main" val="2789330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081E2216-F522-4A9E-AC76-4EB2534C56AD}" type="slidenum">
              <a:rPr lang="en-US" smtClean="0"/>
              <a:pPr/>
              <a:t>11</a:t>
            </a:fld>
            <a:endParaRPr lang="en-US"/>
          </a:p>
        </p:txBody>
      </p:sp>
    </p:spTree>
    <p:extLst>
      <p:ext uri="{BB962C8B-B14F-4D97-AF65-F5344CB8AC3E}">
        <p14:creationId xmlns:p14="http://schemas.microsoft.com/office/powerpoint/2010/main" val="635123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081E2216-F522-4A9E-AC76-4EB2534C56AD}" type="slidenum">
              <a:rPr lang="en-US" smtClean="0"/>
              <a:pPr/>
              <a:t>2</a:t>
            </a:fld>
            <a:endParaRPr lang="en-US"/>
          </a:p>
        </p:txBody>
      </p:sp>
    </p:spTree>
    <p:extLst>
      <p:ext uri="{BB962C8B-B14F-4D97-AF65-F5344CB8AC3E}">
        <p14:creationId xmlns:p14="http://schemas.microsoft.com/office/powerpoint/2010/main" val="2472093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3</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4</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5</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6</a:t>
            </a:fld>
            <a:endParaRPr lang="en-US"/>
          </a:p>
        </p:txBody>
      </p:sp>
    </p:spTree>
    <p:extLst>
      <p:ext uri="{BB962C8B-B14F-4D97-AF65-F5344CB8AC3E}">
        <p14:creationId xmlns:p14="http://schemas.microsoft.com/office/powerpoint/2010/main" val="1698911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7</a:t>
            </a:fld>
            <a:endParaRPr lang="en-US"/>
          </a:p>
        </p:txBody>
      </p:sp>
    </p:spTree>
    <p:extLst>
      <p:ext uri="{BB962C8B-B14F-4D97-AF65-F5344CB8AC3E}">
        <p14:creationId xmlns:p14="http://schemas.microsoft.com/office/powerpoint/2010/main" val="1698911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8</a:t>
            </a:fld>
            <a:endParaRPr lang="en-US"/>
          </a:p>
        </p:txBody>
      </p:sp>
    </p:spTree>
    <p:extLst>
      <p:ext uri="{BB962C8B-B14F-4D97-AF65-F5344CB8AC3E}">
        <p14:creationId xmlns:p14="http://schemas.microsoft.com/office/powerpoint/2010/main" val="16511853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9</a:t>
            </a:fld>
            <a:endParaRPr lang="en-US"/>
          </a:p>
        </p:txBody>
      </p:sp>
    </p:spTree>
    <p:extLst>
      <p:ext uri="{BB962C8B-B14F-4D97-AF65-F5344CB8AC3E}">
        <p14:creationId xmlns:p14="http://schemas.microsoft.com/office/powerpoint/2010/main" val="19747166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3907496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0101823-778F-4697-A634-AF0551637E8A}"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200922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17641479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49584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70791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9801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74824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Blank Accent Color 1">
    <p:bg>
      <p:bgPr>
        <a:solidFill>
          <a:schemeClr val="tx1"/>
        </a:solidFill>
        <a:effectLst/>
      </p:bgPr>
    </p:bg>
    <p:spTree>
      <p:nvGrpSpPr>
        <p:cNvPr id="1" name=""/>
        <p:cNvGrpSpPr/>
        <p:nvPr/>
      </p:nvGrpSpPr>
      <p:grpSpPr>
        <a:xfrm>
          <a:off x="0" y="0"/>
          <a:ext cx="0" cy="0"/>
          <a:chOff x="0" y="0"/>
          <a:chExt cx="0" cy="0"/>
        </a:xfrm>
      </p:grpSpPr>
      <p:pic>
        <p:nvPicPr>
          <p:cNvPr id="45" name="Picture 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3"/>
            <a:ext cx="12190269" cy="6857999"/>
          </a:xfrm>
          <a:prstGeom prst="rect">
            <a:avLst/>
          </a:prstGeom>
        </p:spPr>
      </p:pic>
      <p:sp>
        <p:nvSpPr>
          <p:cNvPr id="5" name="Freeform 4"/>
          <p:cNvSpPr/>
          <p:nvPr/>
        </p:nvSpPr>
        <p:spPr bwMode="auto">
          <a:xfrm>
            <a:off x="2" y="0"/>
            <a:ext cx="8566736" cy="6858000"/>
          </a:xfrm>
          <a:custGeom>
            <a:avLst/>
            <a:gdLst>
              <a:gd name="connsiteX0" fmla="*/ 0 w 8738517"/>
              <a:gd name="connsiteY0" fmla="*/ 0 h 6994525"/>
              <a:gd name="connsiteX1" fmla="*/ 6146229 w 8738517"/>
              <a:gd name="connsiteY1" fmla="*/ 0 h 6994525"/>
              <a:gd name="connsiteX2" fmla="*/ 8738517 w 8738517"/>
              <a:gd name="connsiteY2" fmla="*/ 6994525 h 6994525"/>
              <a:gd name="connsiteX3" fmla="*/ 6146229 w 8738517"/>
              <a:gd name="connsiteY3" fmla="*/ 6994525 h 6994525"/>
              <a:gd name="connsiteX4" fmla="*/ 0 w 8738517"/>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8517" h="6994525">
                <a:moveTo>
                  <a:pt x="0" y="0"/>
                </a:moveTo>
                <a:lnTo>
                  <a:pt x="6146229" y="0"/>
                </a:lnTo>
                <a:lnTo>
                  <a:pt x="8738517" y="6994525"/>
                </a:lnTo>
                <a:lnTo>
                  <a:pt x="6146229" y="6994525"/>
                </a:lnTo>
                <a:lnTo>
                  <a:pt x="0" y="6994525"/>
                </a:lnTo>
                <a:close/>
              </a:path>
            </a:pathLst>
          </a:custGeom>
          <a:pattFill prst="smCheck">
            <a:fgClr>
              <a:schemeClr val="tx2"/>
            </a:fgClr>
            <a:bgClr>
              <a:schemeClr val="tx1"/>
            </a:bgClr>
          </a:patt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7" name="Isosceles Triangle 6"/>
          <p:cNvSpPr/>
          <p:nvPr/>
        </p:nvSpPr>
        <p:spPr bwMode="auto">
          <a:xfrm rot="10800000">
            <a:off x="10366852" y="-9861"/>
            <a:ext cx="1810359" cy="2450054"/>
          </a:xfrm>
          <a:prstGeom prs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lvl="0"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8" name="Isosceles Triangle 7"/>
          <p:cNvSpPr/>
          <p:nvPr/>
        </p:nvSpPr>
        <p:spPr bwMode="auto">
          <a:xfrm rot="16200000">
            <a:off x="9281580" y="1963770"/>
            <a:ext cx="4886082" cy="919105"/>
          </a:xfrm>
          <a:prstGeom prst="triangle">
            <a:avLst/>
          </a:prstGeom>
          <a:solidFill>
            <a:srgbClr val="FFD41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Isosceles Triangle 9"/>
          <p:cNvSpPr/>
          <p:nvPr/>
        </p:nvSpPr>
        <p:spPr bwMode="auto">
          <a:xfrm>
            <a:off x="6775227" y="4457819"/>
            <a:ext cx="1791511" cy="2410043"/>
          </a:xfrm>
          <a:prstGeom prs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lvl="0"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cxnSp>
        <p:nvCxnSpPr>
          <p:cNvPr id="14" name="Straight Connector 13"/>
          <p:cNvCxnSpPr/>
          <p:nvPr/>
        </p:nvCxnSpPr>
        <p:spPr>
          <a:xfrm flipV="1">
            <a:off x="4" y="2511167"/>
            <a:ext cx="2213413" cy="1129640"/>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942750" y="2511167"/>
            <a:ext cx="1289513" cy="2894702"/>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V="1">
            <a:off x="2" y="5427115"/>
            <a:ext cx="942749" cy="175547"/>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1" y="3852614"/>
            <a:ext cx="801564" cy="105904"/>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801565" y="3958522"/>
            <a:ext cx="141185" cy="1468595"/>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flipV="1">
            <a:off x="801564" y="2511169"/>
            <a:ext cx="1430698" cy="1447351"/>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6826" y="5959236"/>
            <a:ext cx="705925" cy="654129"/>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13560" y="6251846"/>
            <a:ext cx="1694219" cy="361517"/>
          </a:xfrm>
          <a:prstGeom prst="rect">
            <a:avLst/>
          </a:prstGeom>
        </p:spPr>
      </p:pic>
      <p:cxnSp>
        <p:nvCxnSpPr>
          <p:cNvPr id="42" name="Straight Connector 41"/>
          <p:cNvCxnSpPr/>
          <p:nvPr/>
        </p:nvCxnSpPr>
        <p:spPr>
          <a:xfrm>
            <a:off x="10366852" y="-19719"/>
            <a:ext cx="1825148" cy="488608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954816" y="-186903"/>
            <a:ext cx="2611922" cy="704490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32456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2997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175" y="6747323"/>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a:off x="1165" y="6394308"/>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a:off x="5865147" y="6394306"/>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5"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a:off x="4119495" y="6510893"/>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13" name="Rectangle 12"/>
          <p:cNvSpPr/>
          <p:nvPr/>
        </p:nvSpPr>
        <p:spPr bwMode="auto">
          <a:xfrm>
            <a:off x="1175" y="6747324"/>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6" name="Flowchart: Off-page Connector 15"/>
          <p:cNvSpPr/>
          <p:nvPr/>
        </p:nvSpPr>
        <p:spPr bwMode="auto">
          <a:xfrm>
            <a:off x="11617264" y="346734"/>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7" name="Rectangle 16"/>
          <p:cNvSpPr/>
          <p:nvPr/>
        </p:nvSpPr>
        <p:spPr bwMode="auto">
          <a:xfrm>
            <a:off x="1165" y="6394309"/>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8" name="Right Triangle 17"/>
          <p:cNvSpPr/>
          <p:nvPr/>
        </p:nvSpPr>
        <p:spPr bwMode="auto">
          <a:xfrm>
            <a:off x="5865147" y="6394307"/>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20" name="Rectangle 19"/>
          <p:cNvSpPr/>
          <p:nvPr/>
        </p:nvSpPr>
        <p:spPr bwMode="auto">
          <a:xfrm>
            <a:off x="0" y="42406"/>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1"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22" name="TextBox 7"/>
          <p:cNvSpPr txBox="1"/>
          <p:nvPr/>
        </p:nvSpPr>
        <p:spPr bwMode="white">
          <a:xfrm>
            <a:off x="4119496" y="6510894"/>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23" name="Rectangle 22"/>
          <p:cNvSpPr/>
          <p:nvPr/>
        </p:nvSpPr>
        <p:spPr bwMode="auto">
          <a:xfrm>
            <a:off x="1175" y="6747324"/>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4" name="Flowchart: Off-page Connector 23"/>
          <p:cNvSpPr/>
          <p:nvPr/>
        </p:nvSpPr>
        <p:spPr bwMode="auto">
          <a:xfrm>
            <a:off x="11617264" y="346734"/>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5" name="Rectangle 24"/>
          <p:cNvSpPr/>
          <p:nvPr/>
        </p:nvSpPr>
        <p:spPr bwMode="auto">
          <a:xfrm>
            <a:off x="1165" y="6394309"/>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6" name="Right Triangle 25"/>
          <p:cNvSpPr/>
          <p:nvPr/>
        </p:nvSpPr>
        <p:spPr bwMode="auto">
          <a:xfrm>
            <a:off x="5865147" y="6394307"/>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28" name="Rectangle 27"/>
          <p:cNvSpPr/>
          <p:nvPr/>
        </p:nvSpPr>
        <p:spPr bwMode="auto">
          <a:xfrm>
            <a:off x="0" y="42406"/>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9"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0" name="TextBox 7"/>
          <p:cNvSpPr txBox="1"/>
          <p:nvPr/>
        </p:nvSpPr>
        <p:spPr bwMode="white">
          <a:xfrm>
            <a:off x="4119496" y="6510894"/>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31" name="Rectangle 30"/>
          <p:cNvSpPr/>
          <p:nvPr/>
        </p:nvSpPr>
        <p:spPr bwMode="auto">
          <a:xfrm>
            <a:off x="1174" y="6747322"/>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2" name="Flowchart: Off-page Connector 31"/>
          <p:cNvSpPr/>
          <p:nvPr/>
        </p:nvSpPr>
        <p:spPr bwMode="auto">
          <a:xfrm>
            <a:off x="11617264" y="346732"/>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3" name="Rectangle 32"/>
          <p:cNvSpPr/>
          <p:nvPr/>
        </p:nvSpPr>
        <p:spPr bwMode="auto">
          <a:xfrm>
            <a:off x="1164" y="6394307"/>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4" name="Right Triangle 33"/>
          <p:cNvSpPr/>
          <p:nvPr/>
        </p:nvSpPr>
        <p:spPr bwMode="auto">
          <a:xfrm>
            <a:off x="5865147" y="6394305"/>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pic>
        <p:nvPicPr>
          <p:cNvPr id="35" name="Picture 3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36" name="Rectangle 35"/>
          <p:cNvSpPr/>
          <p:nvPr/>
        </p:nvSpPr>
        <p:spPr bwMode="auto">
          <a:xfrm>
            <a:off x="0" y="42404"/>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7" name="TextBox 7"/>
          <p:cNvSpPr txBox="1"/>
          <p:nvPr/>
        </p:nvSpPr>
        <p:spPr bwMode="white">
          <a:xfrm>
            <a:off x="703839"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8" name="TextBox 7"/>
          <p:cNvSpPr txBox="1"/>
          <p:nvPr/>
        </p:nvSpPr>
        <p:spPr bwMode="white">
          <a:xfrm>
            <a:off x="4119495" y="6510892"/>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val="362589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7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 y="5"/>
            <a:ext cx="12190271" cy="6858000"/>
          </a:xfrm>
          <a:prstGeom prst="rect">
            <a:avLst/>
          </a:prstGeom>
        </p:spPr>
      </p:pic>
    </p:spTree>
    <p:extLst>
      <p:ext uri="{BB962C8B-B14F-4D97-AF65-F5344CB8AC3E}">
        <p14:creationId xmlns:p14="http://schemas.microsoft.com/office/powerpoint/2010/main" val="13072162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4368786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8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9624" y="5090683"/>
            <a:ext cx="2425603" cy="1252677"/>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rot="5400000">
            <a:off x="-2054051" y="2055999"/>
            <a:ext cx="4627295" cy="519194"/>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rot="5400000">
            <a:off x="46583" y="4581454"/>
            <a:ext cx="423616" cy="519196"/>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600" y="115642"/>
            <a:ext cx="372531" cy="347744"/>
          </a:xfrm>
          <a:prstGeom prst="rect">
            <a:avLst/>
          </a:prstGeom>
        </p:spPr>
      </p:pic>
      <p:sp>
        <p:nvSpPr>
          <p:cNvPr id="15" name="TextBox 7"/>
          <p:cNvSpPr txBox="1"/>
          <p:nvPr/>
        </p:nvSpPr>
        <p:spPr bwMode="white">
          <a:xfrm rot="5400000">
            <a:off x="-657017" y="1440628"/>
            <a:ext cx="1830821" cy="45147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rot="5400000">
            <a:off x="-655832" y="3598481"/>
            <a:ext cx="1828442"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val="155512071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Title Only">
    <p:bg>
      <p:bgPr>
        <a:solidFill>
          <a:schemeClr val="tx1">
            <a:lumMod val="95000"/>
          </a:schemeClr>
        </a:solidFill>
        <a:effectLst/>
      </p:bgPr>
    </p:bg>
    <p:spTree>
      <p:nvGrpSpPr>
        <p:cNvPr id="1" name=""/>
        <p:cNvGrpSpPr/>
        <p:nvPr/>
      </p:nvGrpSpPr>
      <p:grpSpPr>
        <a:xfrm>
          <a:off x="0" y="0"/>
          <a:ext cx="0" cy="0"/>
          <a:chOff x="0" y="0"/>
          <a:chExt cx="0" cy="0"/>
        </a:xfrm>
      </p:grpSpPr>
      <p:sp>
        <p:nvSpPr>
          <p:cNvPr id="4" name="Rectangle 3"/>
          <p:cNvSpPr/>
          <p:nvPr/>
        </p:nvSpPr>
        <p:spPr bwMode="auto">
          <a:xfrm>
            <a:off x="1175" y="6747323"/>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a:off x="1165" y="6394308"/>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a:off x="5865147" y="6394306"/>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5"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a:off x="4119495" y="6510893"/>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val="33417625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8" y="1217201"/>
            <a:ext cx="5378548" cy="899665"/>
          </a:xfrm>
        </p:spPr>
        <p:txBody>
          <a:bodyPr/>
          <a:lstStyle>
            <a:lvl1pPr>
              <a:defRPr sz="6466"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4"/>
            <a:ext cx="6094445" cy="6852152"/>
          </a:xfrm>
          <a:blipFill>
            <a:blip r:embed="rId2"/>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
        <p:nvSpPr>
          <p:cNvPr id="5" name="Rectangle 4"/>
          <p:cNvSpPr/>
          <p:nvPr/>
        </p:nvSpPr>
        <p:spPr>
          <a:xfrm>
            <a:off x="11752550" y="2861"/>
            <a:ext cx="439739" cy="4397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400"/>
          </a:p>
        </p:txBody>
      </p:sp>
    </p:spTree>
    <p:extLst>
      <p:ext uri="{BB962C8B-B14F-4D97-AF65-F5344CB8AC3E}">
        <p14:creationId xmlns:p14="http://schemas.microsoft.com/office/powerpoint/2010/main" val="338110001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0395" y="6567032"/>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16844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Tree>
    <p:extLst>
      <p:ext uri="{BB962C8B-B14F-4D97-AF65-F5344CB8AC3E}">
        <p14:creationId xmlns:p14="http://schemas.microsoft.com/office/powerpoint/2010/main" val="302544330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B0F0"/>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2514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34815" y="121628"/>
            <a:ext cx="7329854" cy="2026947"/>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328246" y="5345723"/>
            <a:ext cx="9144000" cy="66806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99661"/>
            <a:ext cx="12192000" cy="4627183"/>
          </a:xfrm>
          <a:prstGeom prst="rect">
            <a:avLst/>
          </a:prstGeom>
        </p:spPr>
      </p:pic>
      <p:sp>
        <p:nvSpPr>
          <p:cNvPr id="10" name="Rectangle 9"/>
          <p:cNvSpPr/>
          <p:nvPr userDrawn="1"/>
        </p:nvSpPr>
        <p:spPr>
          <a:xfrm>
            <a:off x="0" y="0"/>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4515261"/>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57239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B0F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99661"/>
            <a:ext cx="12192000" cy="4627183"/>
          </a:xfrm>
          <a:prstGeom prst="rect">
            <a:avLst/>
          </a:prstGeom>
        </p:spPr>
      </p:pic>
      <p:sp>
        <p:nvSpPr>
          <p:cNvPr id="3" name="Rectangle 2"/>
          <p:cNvSpPr/>
          <p:nvPr userDrawn="1"/>
        </p:nvSpPr>
        <p:spPr>
          <a:xfrm>
            <a:off x="0" y="0"/>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userDrawn="1"/>
        </p:nvSpPr>
        <p:spPr>
          <a:xfrm>
            <a:off x="0" y="4515261"/>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002320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7892329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753906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6E89C6F-D61E-4B3B-8D7F-174EF7B39034}"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6123418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15458087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6E89C6F-D61E-4B3B-8D7F-174EF7B39034}" type="datetimeFigureOut">
              <a:rPr lang="en-US" smtClean="0"/>
              <a:pPr/>
              <a:t>4/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7781432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6E89C6F-D61E-4B3B-8D7F-174EF7B39034}" type="datetimeFigureOut">
              <a:rPr lang="en-US" smtClean="0"/>
              <a:pPr/>
              <a:t>4/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0904644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4"/>
          <p:cNvSpPr>
            <a:spLocks noGrp="1"/>
          </p:cNvSpPr>
          <p:nvPr>
            <p:ph type="title"/>
          </p:nvPr>
        </p:nvSpPr>
        <p:spPr>
          <a:xfrm>
            <a:off x="205154" y="145318"/>
            <a:ext cx="10515600" cy="505314"/>
          </a:xfrm>
        </p:spPr>
        <p:txBody>
          <a:bodyPr>
            <a:noAutofit/>
          </a:bodyPr>
          <a:lstStyle>
            <a:lvl1pPr>
              <a:defRPr sz="3200" b="1"/>
            </a:lvl1pPr>
          </a:lstStyle>
          <a:p>
            <a:r>
              <a:rPr lang="en-US"/>
              <a:t>Click to edit Master title style</a:t>
            </a:r>
          </a:p>
        </p:txBody>
      </p:sp>
      <p:sp>
        <p:nvSpPr>
          <p:cNvPr id="6" name="Rectangle 5"/>
          <p:cNvSpPr/>
          <p:nvPr userDrawn="1"/>
        </p:nvSpPr>
        <p:spPr>
          <a:xfrm>
            <a:off x="319454" y="650632"/>
            <a:ext cx="5246077" cy="1318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11805139" y="6471139"/>
            <a:ext cx="386861" cy="3868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p:cNvSpPr/>
          <p:nvPr userDrawn="1"/>
        </p:nvSpPr>
        <p:spPr>
          <a:xfrm rot="16200000">
            <a:off x="11501804" y="6554666"/>
            <a:ext cx="386861" cy="21980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41" name="Group 40"/>
          <p:cNvGrpSpPr/>
          <p:nvPr userDrawn="1"/>
        </p:nvGrpSpPr>
        <p:grpSpPr>
          <a:xfrm>
            <a:off x="319454" y="6711028"/>
            <a:ext cx="1002589" cy="45719"/>
            <a:chOff x="5262822" y="6526182"/>
            <a:chExt cx="1547029" cy="70546"/>
          </a:xfrm>
        </p:grpSpPr>
        <p:sp>
          <p:nvSpPr>
            <p:cNvPr id="11" name="Oval 10"/>
            <p:cNvSpPr/>
            <p:nvPr userDrawn="1"/>
          </p:nvSpPr>
          <p:spPr>
            <a:xfrm>
              <a:off x="5262822"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361319"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5459816"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5558313"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565681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5755307"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5853804" y="6527154"/>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5952301"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050798"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149295"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userDrawn="1"/>
          </p:nvSpPr>
          <p:spPr>
            <a:xfrm>
              <a:off x="6247792"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userDrawn="1"/>
          </p:nvSpPr>
          <p:spPr>
            <a:xfrm>
              <a:off x="6346289"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userDrawn="1"/>
          </p:nvSpPr>
          <p:spPr>
            <a:xfrm>
              <a:off x="6444786"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userDrawn="1"/>
          </p:nvSpPr>
          <p:spPr>
            <a:xfrm>
              <a:off x="6543283"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664178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6740277"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rgbClr val="00B0F0"/>
                </a:solidFill>
                <a:latin typeface="+mn-lt"/>
                <a:ea typeface="+mn-ea"/>
                <a:cs typeface="+mn-cs"/>
              </a:rPr>
              <a:t>Microsoft Digital Advisory Services –TESS (Tax Enabled Solutions &amp; Services)</a:t>
            </a:r>
          </a:p>
        </p:txBody>
      </p:sp>
      <p:sp>
        <p:nvSpPr>
          <p:cNvPr id="4" name="Slide Number Placeholder 3"/>
          <p:cNvSpPr>
            <a:spLocks noGrp="1"/>
          </p:cNvSpPr>
          <p:nvPr>
            <p:ph type="sldNum" sz="quarter" idx="12"/>
          </p:nvPr>
        </p:nvSpPr>
        <p:spPr>
          <a:xfrm>
            <a:off x="11581752" y="6492875"/>
            <a:ext cx="610247" cy="365125"/>
          </a:xfrm>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9678378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Rectangle 6"/>
          <p:cNvSpPr/>
          <p:nvPr userDrawn="1"/>
        </p:nvSpPr>
        <p:spPr>
          <a:xfrm>
            <a:off x="11805139" y="6471139"/>
            <a:ext cx="386861" cy="3868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p:cNvSpPr/>
          <p:nvPr userDrawn="1"/>
        </p:nvSpPr>
        <p:spPr>
          <a:xfrm rot="16200000">
            <a:off x="11501804" y="6554666"/>
            <a:ext cx="386861" cy="21980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41" name="Group 40"/>
          <p:cNvGrpSpPr/>
          <p:nvPr userDrawn="1"/>
        </p:nvGrpSpPr>
        <p:grpSpPr>
          <a:xfrm>
            <a:off x="319454" y="6711028"/>
            <a:ext cx="1002589" cy="45719"/>
            <a:chOff x="5262822" y="6526182"/>
            <a:chExt cx="1547029" cy="70546"/>
          </a:xfrm>
        </p:grpSpPr>
        <p:sp>
          <p:nvSpPr>
            <p:cNvPr id="11" name="Oval 10"/>
            <p:cNvSpPr/>
            <p:nvPr userDrawn="1"/>
          </p:nvSpPr>
          <p:spPr>
            <a:xfrm>
              <a:off x="5262822"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361319"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5459816"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5558313"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565681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5755307"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5853804" y="6527154"/>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5952301"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050798"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149295"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userDrawn="1"/>
          </p:nvSpPr>
          <p:spPr>
            <a:xfrm>
              <a:off x="6247792"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userDrawn="1"/>
          </p:nvSpPr>
          <p:spPr>
            <a:xfrm>
              <a:off x="6346289"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userDrawn="1"/>
          </p:nvSpPr>
          <p:spPr>
            <a:xfrm>
              <a:off x="6444786"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userDrawn="1"/>
          </p:nvSpPr>
          <p:spPr>
            <a:xfrm>
              <a:off x="6543283"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664178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6740277"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p:cNvSpPr>
            <a:spLocks noGrp="1"/>
          </p:cNvSpPr>
          <p:nvPr>
            <p:ph type="sldNum" sz="quarter" idx="12"/>
          </p:nvPr>
        </p:nvSpPr>
        <p:spPr>
          <a:xfrm>
            <a:off x="11581752" y="6492875"/>
            <a:ext cx="610247" cy="365125"/>
          </a:xfrm>
        </p:spPr>
        <p:txBody>
          <a:bodyPr/>
          <a:lstStyle/>
          <a:p>
            <a:fld id="{E63153BA-7AF4-4062-AA30-5986906CAA42}" type="slidenum">
              <a:rPr lang="en-US" smtClean="0"/>
              <a:pPr/>
              <a:t>‹Nº›</a:t>
            </a:fld>
            <a:endParaRPr lang="en-US"/>
          </a:p>
        </p:txBody>
      </p:sp>
      <p:sp>
        <p:nvSpPr>
          <p:cNvPr id="2" name="Parallelogram 1"/>
          <p:cNvSpPr/>
          <p:nvPr userDrawn="1"/>
        </p:nvSpPr>
        <p:spPr>
          <a:xfrm>
            <a:off x="11007968" y="0"/>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arallelogram 26"/>
          <p:cNvSpPr/>
          <p:nvPr userDrawn="1"/>
        </p:nvSpPr>
        <p:spPr>
          <a:xfrm>
            <a:off x="11139853" y="0"/>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Parallelogram 27"/>
          <p:cNvSpPr/>
          <p:nvPr userDrawn="1"/>
        </p:nvSpPr>
        <p:spPr>
          <a:xfrm>
            <a:off x="11271738"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arallelogram 28"/>
          <p:cNvSpPr/>
          <p:nvPr userDrawn="1"/>
        </p:nvSpPr>
        <p:spPr>
          <a:xfrm>
            <a:off x="11403623"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arallelogram 29"/>
          <p:cNvSpPr/>
          <p:nvPr userDrawn="1"/>
        </p:nvSpPr>
        <p:spPr>
          <a:xfrm>
            <a:off x="11537792"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Parallelogram 30"/>
          <p:cNvSpPr/>
          <p:nvPr userDrawn="1"/>
        </p:nvSpPr>
        <p:spPr>
          <a:xfrm>
            <a:off x="11669677"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Parallelogram 31"/>
          <p:cNvSpPr/>
          <p:nvPr userDrawn="1"/>
        </p:nvSpPr>
        <p:spPr>
          <a:xfrm>
            <a:off x="11801562" y="-2"/>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Parallelogram 32"/>
          <p:cNvSpPr/>
          <p:nvPr userDrawn="1"/>
        </p:nvSpPr>
        <p:spPr>
          <a:xfrm>
            <a:off x="11933447" y="-2"/>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rgbClr val="00B0F0"/>
                </a:solidFill>
                <a:latin typeface="+mn-lt"/>
                <a:ea typeface="+mn-ea"/>
                <a:cs typeface="+mn-cs"/>
              </a:rPr>
              <a:t>Microsoft Digital Advisory Services –TESS (Tax Enabled Solutions &amp; Services)</a:t>
            </a:r>
          </a:p>
        </p:txBody>
      </p:sp>
    </p:spTree>
    <p:extLst>
      <p:ext uri="{BB962C8B-B14F-4D97-AF65-F5344CB8AC3E}">
        <p14:creationId xmlns:p14="http://schemas.microsoft.com/office/powerpoint/2010/main" val="18408635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6209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Blank">
    <p:bg>
      <p:bgPr>
        <a:solidFill>
          <a:srgbClr val="00B0F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069358" y="0"/>
            <a:ext cx="4122642" cy="6858000"/>
          </a:xfrm>
          <a:prstGeom prst="rect">
            <a:avLst/>
          </a:prstGeom>
        </p:spPr>
      </p:pic>
    </p:spTree>
    <p:extLst>
      <p:ext uri="{BB962C8B-B14F-4D97-AF65-F5344CB8AC3E}">
        <p14:creationId xmlns:p14="http://schemas.microsoft.com/office/powerpoint/2010/main" val="16213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Blank">
    <p:bg>
      <p:bgPr>
        <a:solidFill>
          <a:srgbClr val="00B0F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p:cNvSpPr/>
          <p:nvPr userDrawn="1"/>
        </p:nvSpPr>
        <p:spPr>
          <a:xfrm>
            <a:off x="0" y="0"/>
            <a:ext cx="6099142"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0888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2889" cy="6858000"/>
          </a:xfrm>
          <a:prstGeom prst="rect">
            <a:avLst/>
          </a:prstGeom>
        </p:spPr>
      </p:pic>
    </p:spTree>
    <p:extLst>
      <p:ext uri="{BB962C8B-B14F-4D97-AF65-F5344CB8AC3E}">
        <p14:creationId xmlns:p14="http://schemas.microsoft.com/office/powerpoint/2010/main" val="194591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Blank">
    <p:bg>
      <p:bgPr>
        <a:solidFill>
          <a:srgbClr val="00B0F0"/>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319454" y="6711028"/>
            <a:ext cx="1002589" cy="45719"/>
            <a:chOff x="5262822" y="6526182"/>
            <a:chExt cx="1547029" cy="70546"/>
          </a:xfrm>
          <a:solidFill>
            <a:schemeClr val="bg1"/>
          </a:solidFill>
        </p:grpSpPr>
        <p:sp>
          <p:nvSpPr>
            <p:cNvPr id="5" name="Oval 4"/>
            <p:cNvSpPr/>
            <p:nvPr userDrawn="1"/>
          </p:nvSpPr>
          <p:spPr>
            <a:xfrm>
              <a:off x="5262822"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userDrawn="1"/>
          </p:nvSpPr>
          <p:spPr>
            <a:xfrm>
              <a:off x="5361319"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userDrawn="1"/>
          </p:nvSpPr>
          <p:spPr>
            <a:xfrm>
              <a:off x="5459816"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userDrawn="1"/>
          </p:nvSpPr>
          <p:spPr>
            <a:xfrm>
              <a:off x="5558313"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userDrawn="1"/>
          </p:nvSpPr>
          <p:spPr>
            <a:xfrm>
              <a:off x="565681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userDrawn="1"/>
          </p:nvSpPr>
          <p:spPr>
            <a:xfrm>
              <a:off x="5755307"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userDrawn="1"/>
          </p:nvSpPr>
          <p:spPr>
            <a:xfrm>
              <a:off x="5853804" y="6527154"/>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952301"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6050798"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6149295"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6247792"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6346289"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6444786"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6543283"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64178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740277"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chemeClr val="bg1"/>
                </a:solidFill>
                <a:latin typeface="+mn-lt"/>
                <a:ea typeface="+mn-ea"/>
                <a:cs typeface="+mn-cs"/>
              </a:rPr>
              <a:t>Microsoft Digital Advisory Services –TESS (Tax Enabled Solutions &amp; Services)</a:t>
            </a:r>
          </a:p>
        </p:txBody>
      </p:sp>
      <p:grpSp>
        <p:nvGrpSpPr>
          <p:cNvPr id="23" name="Group 22"/>
          <p:cNvGrpSpPr/>
          <p:nvPr userDrawn="1"/>
        </p:nvGrpSpPr>
        <p:grpSpPr>
          <a:xfrm>
            <a:off x="10853242" y="6704335"/>
            <a:ext cx="1002589" cy="45719"/>
            <a:chOff x="5262822" y="6526182"/>
            <a:chExt cx="1547029" cy="70546"/>
          </a:xfrm>
          <a:solidFill>
            <a:schemeClr val="bg1"/>
          </a:solidFill>
        </p:grpSpPr>
        <p:sp>
          <p:nvSpPr>
            <p:cNvPr id="24" name="Oval 23"/>
            <p:cNvSpPr/>
            <p:nvPr userDrawn="1"/>
          </p:nvSpPr>
          <p:spPr>
            <a:xfrm>
              <a:off x="5262822"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5361319"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5459816"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userDrawn="1"/>
          </p:nvSpPr>
          <p:spPr>
            <a:xfrm>
              <a:off x="5558313"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userDrawn="1"/>
          </p:nvSpPr>
          <p:spPr>
            <a:xfrm>
              <a:off x="565681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userDrawn="1"/>
          </p:nvSpPr>
          <p:spPr>
            <a:xfrm>
              <a:off x="5755307"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userDrawn="1"/>
          </p:nvSpPr>
          <p:spPr>
            <a:xfrm>
              <a:off x="5853804" y="6527154"/>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userDrawn="1"/>
          </p:nvSpPr>
          <p:spPr>
            <a:xfrm>
              <a:off x="5952301"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userDrawn="1"/>
          </p:nvSpPr>
          <p:spPr>
            <a:xfrm>
              <a:off x="6050798"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userDrawn="1"/>
          </p:nvSpPr>
          <p:spPr>
            <a:xfrm>
              <a:off x="6149295"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userDrawn="1"/>
          </p:nvSpPr>
          <p:spPr>
            <a:xfrm>
              <a:off x="6247792"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userDrawn="1"/>
          </p:nvSpPr>
          <p:spPr>
            <a:xfrm>
              <a:off x="6346289"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userDrawn="1"/>
          </p:nvSpPr>
          <p:spPr>
            <a:xfrm>
              <a:off x="6444786"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userDrawn="1"/>
          </p:nvSpPr>
          <p:spPr>
            <a:xfrm>
              <a:off x="6543283"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userDrawn="1"/>
          </p:nvSpPr>
          <p:spPr>
            <a:xfrm>
              <a:off x="664178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userDrawn="1"/>
          </p:nvSpPr>
          <p:spPr>
            <a:xfrm>
              <a:off x="6740277"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953918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p:cNvSpPr/>
          <p:nvPr userDrawn="1"/>
        </p:nvSpPr>
        <p:spPr>
          <a:xfrm>
            <a:off x="1" y="0"/>
            <a:ext cx="6089904"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9032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0101823-778F-4697-A634-AF0551637E8A}"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3447794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 y="496"/>
            <a:ext cx="12191119" cy="6857504"/>
          </a:xfrm>
          <a:prstGeom prst="rect">
            <a:avLst/>
          </a:prstGeom>
        </p:spPr>
      </p:pic>
      <p:sp>
        <p:nvSpPr>
          <p:cNvPr id="3" name="Title 4"/>
          <p:cNvSpPr>
            <a:spLocks noGrp="1"/>
          </p:cNvSpPr>
          <p:nvPr>
            <p:ph type="title"/>
          </p:nvPr>
        </p:nvSpPr>
        <p:spPr>
          <a:xfrm>
            <a:off x="205154" y="145318"/>
            <a:ext cx="10515600" cy="505314"/>
          </a:xfrm>
        </p:spPr>
        <p:txBody>
          <a:bodyPr>
            <a:noAutofit/>
          </a:bodyPr>
          <a:lstStyle>
            <a:lvl1pPr>
              <a:defRPr sz="3200" b="1"/>
            </a:lvl1pPr>
          </a:lstStyle>
          <a:p>
            <a:r>
              <a:rPr lang="en-US"/>
              <a:t>Click to edit Master title style</a:t>
            </a:r>
          </a:p>
        </p:txBody>
      </p:sp>
      <p:sp>
        <p:nvSpPr>
          <p:cNvPr id="4" name="Rectangle 3"/>
          <p:cNvSpPr/>
          <p:nvPr userDrawn="1"/>
        </p:nvSpPr>
        <p:spPr>
          <a:xfrm>
            <a:off x="319454" y="650632"/>
            <a:ext cx="5246077" cy="1318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21849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E89C6F-D61E-4B3B-8D7F-174EF7B39034}"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402271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E89C6F-D61E-4B3B-8D7F-174EF7B39034}"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41962295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11315993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4083815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Custom Layout">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700"/>
          </a:p>
        </p:txBody>
      </p:sp>
      <p:sp>
        <p:nvSpPr>
          <p:cNvPr id="10" name="Parallelogram 9"/>
          <p:cNvSpPr/>
          <p:nvPr userDrawn="1"/>
        </p:nvSpPr>
        <p:spPr>
          <a:xfrm flipH="1">
            <a:off x="6949424" y="3"/>
            <a:ext cx="5242576" cy="6857999"/>
          </a:xfrm>
          <a:prstGeom prst="parallelogram">
            <a:avLst>
              <a:gd name="adj" fmla="val 3478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sp>
        <p:nvSpPr>
          <p:cNvPr id="11" name="Rectangle 10"/>
          <p:cNvSpPr/>
          <p:nvPr userDrawn="1"/>
        </p:nvSpPr>
        <p:spPr>
          <a:xfrm>
            <a:off x="9570712" y="3"/>
            <a:ext cx="2621288"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70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34510" y="355852"/>
            <a:ext cx="1714613" cy="630709"/>
          </a:xfrm>
          <a:prstGeom prst="rect">
            <a:avLst/>
          </a:prstGeom>
        </p:spPr>
      </p:pic>
      <p:sp>
        <p:nvSpPr>
          <p:cNvPr id="7" name="Title 1"/>
          <p:cNvSpPr>
            <a:spLocks noGrp="1"/>
          </p:cNvSpPr>
          <p:nvPr>
            <p:ph type="title" hasCustomPrompt="1"/>
          </p:nvPr>
        </p:nvSpPr>
        <p:spPr>
          <a:xfrm>
            <a:off x="558283" y="2025974"/>
            <a:ext cx="6197081" cy="1325563"/>
          </a:xfrm>
        </p:spPr>
        <p:txBody>
          <a:bodyPr/>
          <a:lstStyle>
            <a:lvl1pPr>
              <a:defRPr>
                <a:solidFill>
                  <a:schemeClr val="tx1"/>
                </a:solidFill>
              </a:defRPr>
            </a:lvl1pPr>
          </a:lstStyle>
          <a:p>
            <a:r>
              <a:rPr lang="en-US" dirty="0"/>
              <a:t>Thank You!!!</a:t>
            </a:r>
          </a:p>
        </p:txBody>
      </p:sp>
    </p:spTree>
    <p:extLst>
      <p:ext uri="{BB962C8B-B14F-4D97-AF65-F5344CB8AC3E}">
        <p14:creationId xmlns:p14="http://schemas.microsoft.com/office/powerpoint/2010/main" val="1526731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0101823-778F-4697-A634-AF0551637E8A}" type="datetimeFigureOut">
              <a:rPr lang="en-US" smtClean="0"/>
              <a:pPr/>
              <a:t>4/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3094621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0101823-778F-4697-A634-AF0551637E8A}" type="datetimeFigureOut">
              <a:rPr lang="en-US" smtClean="0"/>
              <a:pPr/>
              <a:t>4/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4257838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101823-778F-4697-A634-AF0551637E8A}" type="datetimeFigureOut">
              <a:rPr lang="en-US" smtClean="0"/>
              <a:pPr/>
              <a:t>4/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4161827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101823-778F-4697-A634-AF0551637E8A}" type="datetimeFigureOut">
              <a:rPr lang="en-US" smtClean="0"/>
              <a:pPr/>
              <a:t>4/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B12207-F215-47D5-A878-F5665ECDB299}" type="slidenum">
              <a:rPr lang="en-US" smtClean="0"/>
              <a:pPr/>
              <a:t>‹Nº›</a:t>
            </a:fld>
            <a:endParaRPr lang="en-US"/>
          </a:p>
        </p:txBody>
      </p:sp>
      <p:sp>
        <p:nvSpPr>
          <p:cNvPr id="6" name="Rectangle 5">
            <a:extLst>
              <a:ext uri="{FF2B5EF4-FFF2-40B4-BE49-F238E27FC236}">
                <a16:creationId xmlns:a16="http://schemas.microsoft.com/office/drawing/2014/main" id="{139B9FF7-1D46-447B-848C-C2D89BBF88CE}"/>
              </a:ext>
            </a:extLst>
          </p:cNvPr>
          <p:cNvSpPr/>
          <p:nvPr userDrawn="1"/>
        </p:nvSpPr>
        <p:spPr>
          <a:xfrm>
            <a:off x="0" y="0"/>
            <a:ext cx="12192000" cy="6858000"/>
          </a:xfrm>
          <a:prstGeom prst="rect">
            <a:avLst/>
          </a:prstGeom>
          <a:solidFill>
            <a:srgbClr val="81D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065CEB5E-4565-419C-8202-D3F23059F9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732849"/>
            <a:ext cx="12192000" cy="3125151"/>
          </a:xfrm>
          <a:prstGeom prst="rect">
            <a:avLst/>
          </a:prstGeom>
        </p:spPr>
      </p:pic>
    </p:spTree>
    <p:extLst>
      <p:ext uri="{BB962C8B-B14F-4D97-AF65-F5344CB8AC3E}">
        <p14:creationId xmlns:p14="http://schemas.microsoft.com/office/powerpoint/2010/main" val="2572100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0101823-778F-4697-A634-AF0551637E8A}"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3990989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101823-778F-4697-A634-AF0551637E8A}" type="datetimeFigureOut">
              <a:rPr lang="en-US" smtClean="0"/>
              <a:pPr/>
              <a:t>4/16/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B12207-F215-47D5-A878-F5665ECDB299}" type="slidenum">
              <a:rPr lang="en-US" smtClean="0"/>
              <a:pPr/>
              <a:t>‹Nº›</a:t>
            </a:fld>
            <a:endParaRPr lang="en-US"/>
          </a:p>
        </p:txBody>
      </p:sp>
    </p:spTree>
    <p:extLst>
      <p:ext uri="{BB962C8B-B14F-4D97-AF65-F5344CB8AC3E}">
        <p14:creationId xmlns:p14="http://schemas.microsoft.com/office/powerpoint/2010/main" val="27313545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74" r:id="rId8"/>
    <p:sldLayoutId id="2147483656" r:id="rId9"/>
    <p:sldLayoutId id="2147483657" r:id="rId10"/>
    <p:sldLayoutId id="2147483658" r:id="rId11"/>
    <p:sldLayoutId id="2147483659" r:id="rId12"/>
    <p:sldLayoutId id="214748371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51" y="289517"/>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53" y="1189185"/>
            <a:ext cx="11653522" cy="218506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5400000">
            <a:off x="10325067" y="1906420"/>
            <a:ext cx="4214127" cy="401304"/>
          </a:xfrm>
          <a:prstGeom prst="rect">
            <a:avLst/>
          </a:prstGeom>
        </p:spPr>
      </p:pic>
    </p:spTree>
    <p:extLst>
      <p:ext uri="{BB962C8B-B14F-4D97-AF65-F5344CB8AC3E}">
        <p14:creationId xmlns:p14="http://schemas.microsoft.com/office/powerpoint/2010/main" val="1693888065"/>
      </p:ext>
    </p:extLst>
  </p:cSld>
  <p:clrMap bg1="dk1" tx1="lt1" bg2="dk2" tx2="lt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ransition>
    <p:fade/>
  </p:transition>
  <p:txStyles>
    <p:titleStyle>
      <a:lvl1pPr algn="l" defTabSz="913903" rtl="0" eaLnBrk="1" latinLnBrk="0" hangingPunct="1">
        <a:lnSpc>
          <a:spcPct val="90000"/>
        </a:lnSpc>
        <a:spcBef>
          <a:spcPct val="0"/>
        </a:spcBef>
        <a:buNone/>
        <a:defRPr lang="en-US" sz="529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3" marR="0" indent="-33597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8" kern="1200" spc="0" baseline="0">
          <a:gradFill>
            <a:gsLst>
              <a:gs pos="1250">
                <a:schemeClr val="tx1"/>
              </a:gs>
              <a:gs pos="100000">
                <a:schemeClr val="tx1"/>
              </a:gs>
            </a:gsLst>
            <a:lin ang="5400000" scaled="0"/>
          </a:gradFill>
          <a:latin typeface="+mj-lt"/>
          <a:ea typeface="+mn-ea"/>
          <a:cs typeface="+mn-cs"/>
        </a:defRPr>
      </a:lvl1pPr>
      <a:lvl2pPr marL="572401" marR="0" indent="-236427"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41"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23"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4pPr>
      <a:lvl5pPr marL="1231907"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5pPr>
      <a:lvl6pPr marL="2513234"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87"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39"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094"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3" rtl="0" eaLnBrk="1" latinLnBrk="0" hangingPunct="1">
        <a:defRPr sz="1763" kern="1200">
          <a:solidFill>
            <a:schemeClr val="tx1"/>
          </a:solidFill>
          <a:latin typeface="+mn-lt"/>
          <a:ea typeface="+mn-ea"/>
          <a:cs typeface="+mn-cs"/>
        </a:defRPr>
      </a:lvl1pPr>
      <a:lvl2pPr marL="456950" algn="l" defTabSz="913903" rtl="0" eaLnBrk="1" latinLnBrk="0" hangingPunct="1">
        <a:defRPr sz="1763" kern="1200">
          <a:solidFill>
            <a:schemeClr val="tx1"/>
          </a:solidFill>
          <a:latin typeface="+mn-lt"/>
          <a:ea typeface="+mn-ea"/>
          <a:cs typeface="+mn-cs"/>
        </a:defRPr>
      </a:lvl2pPr>
      <a:lvl3pPr marL="913903" algn="l" defTabSz="913903" rtl="0" eaLnBrk="1" latinLnBrk="0" hangingPunct="1">
        <a:defRPr sz="1763" kern="1200">
          <a:solidFill>
            <a:schemeClr val="tx1"/>
          </a:solidFill>
          <a:latin typeface="+mn-lt"/>
          <a:ea typeface="+mn-ea"/>
          <a:cs typeface="+mn-cs"/>
        </a:defRPr>
      </a:lvl3pPr>
      <a:lvl4pPr marL="1370856" algn="l" defTabSz="913903" rtl="0" eaLnBrk="1" latinLnBrk="0" hangingPunct="1">
        <a:defRPr sz="1763" kern="1200">
          <a:solidFill>
            <a:schemeClr val="tx1"/>
          </a:solidFill>
          <a:latin typeface="+mn-lt"/>
          <a:ea typeface="+mn-ea"/>
          <a:cs typeface="+mn-cs"/>
        </a:defRPr>
      </a:lvl4pPr>
      <a:lvl5pPr marL="1827808" algn="l" defTabSz="913903" rtl="0" eaLnBrk="1" latinLnBrk="0" hangingPunct="1">
        <a:defRPr sz="1763" kern="1200">
          <a:solidFill>
            <a:schemeClr val="tx1"/>
          </a:solidFill>
          <a:latin typeface="+mn-lt"/>
          <a:ea typeface="+mn-ea"/>
          <a:cs typeface="+mn-cs"/>
        </a:defRPr>
      </a:lvl5pPr>
      <a:lvl6pPr marL="2284760" algn="l" defTabSz="913903" rtl="0" eaLnBrk="1" latinLnBrk="0" hangingPunct="1">
        <a:defRPr sz="1763" kern="1200">
          <a:solidFill>
            <a:schemeClr val="tx1"/>
          </a:solidFill>
          <a:latin typeface="+mn-lt"/>
          <a:ea typeface="+mn-ea"/>
          <a:cs typeface="+mn-cs"/>
        </a:defRPr>
      </a:lvl6pPr>
      <a:lvl7pPr marL="2741711" algn="l" defTabSz="913903" rtl="0" eaLnBrk="1" latinLnBrk="0" hangingPunct="1">
        <a:defRPr sz="1763" kern="1200">
          <a:solidFill>
            <a:schemeClr val="tx1"/>
          </a:solidFill>
          <a:latin typeface="+mn-lt"/>
          <a:ea typeface="+mn-ea"/>
          <a:cs typeface="+mn-cs"/>
        </a:defRPr>
      </a:lvl7pPr>
      <a:lvl8pPr marL="3198663" algn="l" defTabSz="913903" rtl="0" eaLnBrk="1" latinLnBrk="0" hangingPunct="1">
        <a:defRPr sz="1763" kern="1200">
          <a:solidFill>
            <a:schemeClr val="tx1"/>
          </a:solidFill>
          <a:latin typeface="+mn-lt"/>
          <a:ea typeface="+mn-ea"/>
          <a:cs typeface="+mn-cs"/>
        </a:defRPr>
      </a:lvl8pPr>
      <a:lvl9pPr marL="3655618" algn="l" defTabSz="913903"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6">
          <p15:clr>
            <a:srgbClr val="5ACBF0"/>
          </p15:clr>
        </p15:guide>
        <p15:guide id="2" pos="172">
          <p15:clr>
            <a:srgbClr val="5ACBF0"/>
          </p15:clr>
        </p15:guide>
        <p15:guide id="3" pos="7662">
          <p15:clr>
            <a:srgbClr val="5ACBF0"/>
          </p15:clr>
        </p15:guide>
        <p15:guide id="4" orient="horz" pos="4220">
          <p15:clr>
            <a:srgbClr val="5ACBF0"/>
          </p15:clr>
        </p15:guide>
        <p15:guide id="18" orient="horz" pos="1341">
          <p15:clr>
            <a:srgbClr val="5ACBF0"/>
          </p15:clr>
        </p15:guide>
        <p15:guide id="19" orient="horz" pos="1913">
          <p15:clr>
            <a:srgbClr val="5ACBF0"/>
          </p15:clr>
        </p15:guide>
        <p15:guide id="20" orient="horz" pos="2493">
          <p15:clr>
            <a:srgbClr val="5ACBF0"/>
          </p15:clr>
        </p15:guide>
        <p15:guide id="21" orient="horz" pos="3065">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orient="horz" pos="2203">
          <p15:clr>
            <a:srgbClr val="F26B43"/>
          </p15:clr>
        </p15:guide>
        <p15:guide id="28" orient="horz" pos="187">
          <p15:clr>
            <a:srgbClr val="F26B43"/>
          </p15:clr>
        </p15:guide>
        <p15:guide id="29" orient="horz" pos="763">
          <p15:clr>
            <a:srgbClr val="F26B43"/>
          </p15:clr>
        </p15:guide>
        <p15:guide id="30" orient="horz" pos="1339">
          <p15:clr>
            <a:srgbClr val="F26B43"/>
          </p15:clr>
        </p15:guide>
        <p15:guide id="31" orient="horz" pos="1915">
          <p15:clr>
            <a:srgbClr val="F26B43"/>
          </p15:clr>
        </p15:guide>
        <p15:guide id="32" orient="horz" pos="2491">
          <p15:clr>
            <a:srgbClr val="F26B43"/>
          </p15:clr>
        </p15:guide>
        <p15:guide id="33" orient="horz" pos="3067">
          <p15:clr>
            <a:srgbClr val="F26B43"/>
          </p15:clr>
        </p15:guide>
        <p15:guide id="34" orient="horz" pos="3643">
          <p15:clr>
            <a:srgbClr val="F26B43"/>
          </p15:clr>
        </p15:guide>
        <p15:guide id="35" orient="horz" pos="4219">
          <p15:clr>
            <a:srgbClr val="F26B43"/>
          </p15:clr>
        </p15:guide>
        <p15:guide id="36" pos="3917">
          <p15:clr>
            <a:srgbClr val="F26B43"/>
          </p15:clr>
        </p15:guide>
        <p15:guide id="37" pos="173">
          <p15:clr>
            <a:srgbClr val="F26B43"/>
          </p15:clr>
        </p15:guide>
        <p15:guide id="38" pos="749">
          <p15:clr>
            <a:srgbClr val="F26B43"/>
          </p15:clr>
        </p15:guide>
        <p15:guide id="39" pos="1325">
          <p15:clr>
            <a:srgbClr val="F26B43"/>
          </p15:clr>
        </p15:guide>
        <p15:guide id="40" pos="1901">
          <p15:clr>
            <a:srgbClr val="F26B43"/>
          </p15:clr>
        </p15:guide>
        <p15:guide id="41" pos="2477">
          <p15:clr>
            <a:srgbClr val="F26B43"/>
          </p15:clr>
        </p15:guide>
        <p15:guide id="42" pos="3053">
          <p15:clr>
            <a:srgbClr val="F26B43"/>
          </p15:clr>
        </p15:guide>
        <p15:guide id="43" pos="3629">
          <p15:clr>
            <a:srgbClr val="F26B43"/>
          </p15:clr>
        </p15:guide>
        <p15:guide id="44" pos="4205">
          <p15:clr>
            <a:srgbClr val="F26B43"/>
          </p15:clr>
        </p15:guide>
        <p15:guide id="45" pos="4781">
          <p15:clr>
            <a:srgbClr val="F26B43"/>
          </p15:clr>
        </p15:guide>
        <p15:guide id="46" pos="5357">
          <p15:clr>
            <a:srgbClr val="F26B43"/>
          </p15:clr>
        </p15:guide>
        <p15:guide id="47" pos="5933">
          <p15:clr>
            <a:srgbClr val="F26B43"/>
          </p15:clr>
        </p15:guide>
        <p15:guide id="48" pos="6509">
          <p15:clr>
            <a:srgbClr val="F26B43"/>
          </p15:clr>
        </p15:guide>
        <p15:guide id="49" pos="7085">
          <p15:clr>
            <a:srgbClr val="F26B43"/>
          </p15:clr>
        </p15:guide>
        <p15:guide id="50" pos="7661">
          <p15:clr>
            <a:srgbClr val="F26B43"/>
          </p15:clr>
        </p15:guide>
        <p15:guide id="51" pos="293">
          <p15:clr>
            <a:srgbClr val="F26B43"/>
          </p15:clr>
        </p15:guide>
        <p15:guide id="52" pos="7541">
          <p15:clr>
            <a:srgbClr val="F26B43"/>
          </p15:clr>
        </p15:guide>
        <p15:guide id="53" orient="horz" pos="4051">
          <p15:clr>
            <a:srgbClr val="F26B43"/>
          </p15:clr>
        </p15:guide>
        <p15:guide id="54" orient="horz" pos="90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E89C6F-D61E-4B3B-8D7F-174EF7B39034}" type="datetimeFigureOut">
              <a:rPr lang="en-US" smtClean="0"/>
              <a:pPr/>
              <a:t>4/16/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3153BA-7AF4-4062-AA30-5986906CAA42}" type="slidenum">
              <a:rPr lang="en-US" smtClean="0"/>
              <a:pPr/>
              <a:t>‹Nº›</a:t>
            </a:fld>
            <a:endParaRPr lang="en-US"/>
          </a:p>
        </p:txBody>
      </p:sp>
    </p:spTree>
    <p:extLst>
      <p:ext uri="{BB962C8B-B14F-4D97-AF65-F5344CB8AC3E}">
        <p14:creationId xmlns:p14="http://schemas.microsoft.com/office/powerpoint/2010/main" val="48898808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9.xml"/><Relationship Id="rId7" Type="http://schemas.openxmlformats.org/officeDocument/2006/relationships/image" Target="../media/image1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037" name="think-cell Slide" r:id="rId5" imgW="360" imgH="360" progId="">
                  <p:embed/>
                </p:oleObj>
              </mc:Choice>
              <mc:Fallback>
                <p:oleObj name="think-cell Slide" r:id="rId5" imgW="360" imgH="360" progId="">
                  <p:embed/>
                  <p:pic>
                    <p:nvPicPr>
                      <p:cNvPr id="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idx="4294967295"/>
          </p:nvPr>
        </p:nvSpPr>
        <p:spPr>
          <a:xfrm>
            <a:off x="0" y="2532993"/>
            <a:ext cx="6151563" cy="2566057"/>
          </a:xfrm>
        </p:spPr>
        <p:txBody>
          <a:bodyPr>
            <a:normAutofit fontScale="90000"/>
          </a:bodyPr>
          <a:lstStyle/>
          <a:p>
            <a:pPr algn="ctr"/>
            <a:r>
              <a:rPr lang="es-PE" sz="3600" dirty="0" smtClean="0">
                <a:solidFill>
                  <a:schemeClr val="bg1"/>
                </a:solidFill>
                <a:latin typeface="Roboto Regular"/>
              </a:rPr>
              <a:t>Reunión </a:t>
            </a:r>
            <a:r>
              <a:rPr lang="es-PE" sz="3600" dirty="0" err="1" smtClean="0">
                <a:solidFill>
                  <a:schemeClr val="bg1"/>
                </a:solidFill>
                <a:latin typeface="Roboto Regular"/>
              </a:rPr>
              <a:t>Kick</a:t>
            </a:r>
            <a:r>
              <a:rPr lang="es-PE" sz="3600" dirty="0" smtClean="0">
                <a:solidFill>
                  <a:schemeClr val="bg1"/>
                </a:solidFill>
                <a:latin typeface="Roboto Regular"/>
              </a:rPr>
              <a:t>-Off</a:t>
            </a:r>
            <a:br>
              <a:rPr lang="es-PE" sz="3600" dirty="0" smtClean="0">
                <a:solidFill>
                  <a:schemeClr val="bg1"/>
                </a:solidFill>
                <a:latin typeface="Roboto Regular"/>
              </a:rPr>
            </a:br>
            <a:r>
              <a:rPr lang="es-PE" sz="3600" dirty="0" smtClean="0">
                <a:solidFill>
                  <a:schemeClr val="bg1"/>
                </a:solidFill>
                <a:latin typeface="Roboto Regular"/>
              </a:rPr>
              <a:t> Control Electrónico de Cumplimiento Tributario del IGV </a:t>
            </a:r>
            <a:br>
              <a:rPr lang="es-PE" sz="3600" dirty="0" smtClean="0">
                <a:solidFill>
                  <a:schemeClr val="bg1"/>
                </a:solidFill>
                <a:latin typeface="Roboto Regular"/>
              </a:rPr>
            </a:br>
            <a:r>
              <a:rPr lang="es-PE" sz="2800" dirty="0" smtClean="0">
                <a:solidFill>
                  <a:schemeClr val="bg1"/>
                </a:solidFill>
                <a:latin typeface="Roboto Regular"/>
              </a:rPr>
              <a:t/>
            </a:r>
            <a:br>
              <a:rPr lang="es-PE" sz="2800" dirty="0" smtClean="0">
                <a:solidFill>
                  <a:schemeClr val="bg1"/>
                </a:solidFill>
                <a:latin typeface="Roboto Regular"/>
              </a:rPr>
            </a:br>
            <a:r>
              <a:rPr lang="es-PE" sz="1800" dirty="0" smtClean="0">
                <a:solidFill>
                  <a:schemeClr val="bg1"/>
                </a:solidFill>
                <a:latin typeface="Roboto Regular"/>
              </a:rPr>
              <a:t>Superintendencia Nacional de Aduanas y de Administración Tributaria - SUNAT</a:t>
            </a:r>
            <a:br>
              <a:rPr lang="es-PE" sz="1800" dirty="0" smtClean="0">
                <a:solidFill>
                  <a:schemeClr val="bg1"/>
                </a:solidFill>
                <a:latin typeface="Roboto Regular"/>
              </a:rPr>
            </a:br>
            <a:endParaRPr lang="es-PE" sz="2800" i="1" dirty="0">
              <a:solidFill>
                <a:schemeClr val="bg1"/>
              </a:solidFill>
              <a:latin typeface="Roboto Regular"/>
            </a:endParaRPr>
          </a:p>
        </p:txBody>
      </p:sp>
      <p:pic>
        <p:nvPicPr>
          <p:cNvPr id="10" name="Picture 9">
            <a:extLst>
              <a:ext uri="{FF2B5EF4-FFF2-40B4-BE49-F238E27FC236}">
                <a16:creationId xmlns:a16="http://schemas.microsoft.com/office/drawing/2014/main" id="{598E0D26-6E02-4850-B5DB-CB55EB6E1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4188" y="927460"/>
            <a:ext cx="4629150" cy="1381125"/>
          </a:xfrm>
          <a:prstGeom prst="rect">
            <a:avLst/>
          </a:prstGeom>
        </p:spPr>
      </p:pic>
      <p:pic>
        <p:nvPicPr>
          <p:cNvPr id="1036" name="Picture 12" descr="Imagen relacionad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37742" y="927460"/>
            <a:ext cx="4918534" cy="4939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57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101245"/>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a:solidFill>
                  <a:srgbClr val="00B0F0"/>
                </a:solidFill>
                <a:latin typeface="Roboto Light"/>
                <a:ea typeface="Roboto Light"/>
                <a:cs typeface="Roboto Light"/>
                <a:sym typeface="Roboto Light"/>
              </a:rPr>
              <a:t>Siguientes pasos</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2" name="TextBox 1">
            <a:extLst>
              <a:ext uri="{FF2B5EF4-FFF2-40B4-BE49-F238E27FC236}">
                <a16:creationId xmlns:a16="http://schemas.microsoft.com/office/drawing/2014/main" id="{9C60C279-09C4-48F4-9157-1716F41DB4A0}"/>
              </a:ext>
            </a:extLst>
          </p:cNvPr>
          <p:cNvSpPr txBox="1"/>
          <p:nvPr/>
        </p:nvSpPr>
        <p:spPr>
          <a:xfrm>
            <a:off x="242248" y="1002263"/>
            <a:ext cx="10844851" cy="1938992"/>
          </a:xfrm>
          <a:prstGeom prst="rect">
            <a:avLst/>
          </a:prstGeom>
          <a:noFill/>
        </p:spPr>
        <p:txBody>
          <a:bodyPr wrap="square" rtlCol="0">
            <a:spAutoFit/>
          </a:bodyPr>
          <a:lstStyle/>
          <a:p>
            <a:pPr marL="285750" indent="-285750">
              <a:buFont typeface="Arial" panose="020B0604020202020204" pitchFamily="34" charset="0"/>
              <a:buChar char="•"/>
            </a:pPr>
            <a:r>
              <a:rPr lang="es-PE" sz="2000" dirty="0" smtClean="0">
                <a:solidFill>
                  <a:schemeClr val="accent1"/>
                </a:solidFill>
                <a:latin typeface="Segoe UI" panose="020B0502040204020203" pitchFamily="34" charset="0"/>
                <a:cs typeface="Segoe UI" panose="020B0502040204020203" pitchFamily="34" charset="0"/>
              </a:rPr>
              <a:t>Reunión para revisar la primera versión del Alcance</a:t>
            </a:r>
            <a:endParaRPr lang="es-PE" sz="2000" dirty="0">
              <a:solidFill>
                <a:schemeClr val="accent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s-PE" sz="2000" dirty="0">
              <a:solidFill>
                <a:schemeClr val="accent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s-PE" sz="2000" dirty="0" smtClean="0">
                <a:solidFill>
                  <a:schemeClr val="accent1"/>
                </a:solidFill>
                <a:latin typeface="Segoe UI" panose="020B0502040204020203" pitchFamily="34" charset="0"/>
                <a:cs typeface="Segoe UI" panose="020B0502040204020203" pitchFamily="34" charset="0"/>
              </a:rPr>
              <a:t>Definir de arquitectura de la Solución</a:t>
            </a:r>
            <a:endParaRPr lang="es-PE" sz="2000" dirty="0">
              <a:solidFill>
                <a:schemeClr val="accent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s-PE" sz="2000" dirty="0">
              <a:solidFill>
                <a:schemeClr val="accent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s-PE" sz="2000" dirty="0" smtClean="0">
                <a:solidFill>
                  <a:schemeClr val="accent1"/>
                </a:solidFill>
                <a:latin typeface="Segoe UI" panose="020B0502040204020203" pitchFamily="34" charset="0"/>
                <a:cs typeface="Segoe UI" panose="020B0502040204020203" pitchFamily="34" charset="0"/>
              </a:rPr>
              <a:t>Determinar el impacto</a:t>
            </a:r>
          </a:p>
          <a:p>
            <a:pPr marL="285750" indent="-285750">
              <a:buFont typeface="Arial" panose="020B0604020202020204" pitchFamily="34" charset="0"/>
              <a:buChar char="•"/>
            </a:pPr>
            <a:endParaRPr lang="es-PE" sz="2000" dirty="0" smtClean="0">
              <a:solidFill>
                <a:schemeClr val="accent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905227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CEA0B9-BD7C-477C-9A59-D3E55F85247A}"/>
              </a:ext>
            </a:extLst>
          </p:cNvPr>
          <p:cNvSpPr txBox="1"/>
          <p:nvPr/>
        </p:nvSpPr>
        <p:spPr>
          <a:xfrm>
            <a:off x="0" y="613557"/>
            <a:ext cx="12191999" cy="1200329"/>
          </a:xfrm>
          <a:prstGeom prst="rect">
            <a:avLst/>
          </a:prstGeom>
          <a:noFill/>
        </p:spPr>
        <p:txBody>
          <a:bodyPr wrap="square" rtlCol="0">
            <a:spAutoFit/>
          </a:bodyPr>
          <a:lstStyle/>
          <a:p>
            <a:pPr algn="ctr"/>
            <a:r>
              <a:rPr lang="es-CO" sz="7200" dirty="0"/>
              <a:t>¿Preguntas?</a:t>
            </a:r>
          </a:p>
        </p:txBody>
      </p:sp>
      <p:sp>
        <p:nvSpPr>
          <p:cNvPr id="3" name="2 Título"/>
          <p:cNvSpPr>
            <a:spLocks noGrp="1"/>
          </p:cNvSpPr>
          <p:nvPr>
            <p:ph type="title"/>
          </p:nvPr>
        </p:nvSpPr>
        <p:spPr/>
        <p:txBody>
          <a:bodyPr/>
          <a:lstStyle/>
          <a:p>
            <a:r>
              <a:rPr lang="es-PE" dirty="0" smtClean="0"/>
              <a:t>Gracias!</a:t>
            </a:r>
            <a:endParaRPr lang="es-PE" dirty="0"/>
          </a:p>
        </p:txBody>
      </p:sp>
      <p:pic>
        <p:nvPicPr>
          <p:cNvPr id="4" name="Picture 12" descr="Imagen relacionad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7638" y="0"/>
            <a:ext cx="2844362" cy="285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863780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327"/>
          <p:cNvSpPr/>
          <p:nvPr/>
        </p:nvSpPr>
        <p:spPr>
          <a:xfrm flipV="1">
            <a:off x="6284713" y="0"/>
            <a:ext cx="1" cy="6864435"/>
          </a:xfrm>
          <a:prstGeom prst="line">
            <a:avLst/>
          </a:prstGeom>
          <a:ln w="38100">
            <a:solidFill>
              <a:srgbClr val="00B0F0"/>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pPr>
            <a:endParaRPr kumimoji="0" sz="2800" b="0" i="0" u="none" strike="noStrike" kern="1200" cap="none" spc="0" normalizeH="0" baseline="0" noProof="0">
              <a:ln>
                <a:noFill/>
              </a:ln>
              <a:solidFill>
                <a:prstClr val="black"/>
              </a:solidFill>
              <a:effectLst/>
              <a:uLnTx/>
              <a:uFillTx/>
              <a:latin typeface="Segoe UI"/>
              <a:ea typeface="+mn-ea"/>
              <a:cs typeface="+mn-cs"/>
            </a:endParaRPr>
          </a:p>
        </p:txBody>
      </p:sp>
      <p:sp>
        <p:nvSpPr>
          <p:cNvPr id="5" name="Shape 329"/>
          <p:cNvSpPr/>
          <p:nvPr/>
        </p:nvSpPr>
        <p:spPr>
          <a:xfrm>
            <a:off x="6006569" y="334294"/>
            <a:ext cx="549145" cy="447109"/>
          </a:xfrm>
          <a:prstGeom prst="rect">
            <a:avLst/>
          </a:prstGeom>
          <a:solidFill>
            <a:srgbClr val="59595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ts val="2500"/>
              </a:lnSpc>
              <a:spcBef>
                <a:spcPts val="600"/>
              </a:spcBef>
              <a:defRPr sz="2500" spc="0">
                <a:solidFill>
                  <a:srgbClr val="FFFFFF"/>
                </a:solidFill>
                <a:latin typeface="Roboto Bold"/>
                <a:ea typeface="Roboto Bold"/>
                <a:cs typeface="Roboto Bold"/>
                <a:sym typeface="Roboto Bold"/>
              </a:defRPr>
            </a:lvl1pPr>
          </a:lstStyle>
          <a:p>
            <a:pPr marL="0" marR="0" lvl="0" indent="0" algn="ctr" defTabSz="914400" rtl="0" eaLnBrk="1" fontAlgn="auto" latinLnBrk="0" hangingPunct="1">
              <a:lnSpc>
                <a:spcPts val="2500"/>
              </a:lnSpc>
              <a:spcBef>
                <a:spcPts val="600"/>
              </a:spcBef>
              <a:spcAft>
                <a:spcPts val="0"/>
              </a:spcAft>
              <a:buClrTx/>
              <a:buSzTx/>
              <a:buFontTx/>
              <a:buNone/>
              <a:tabLst/>
              <a:defRPr sz="1800" spc="0">
                <a:solidFill>
                  <a:srgbClr val="000000"/>
                </a:solidFill>
              </a:defRPr>
            </a:pPr>
            <a:r>
              <a:rPr kumimoji="0" lang="es-MX" sz="2400" b="0" i="0" u="none" strike="noStrike" kern="1200" cap="none" spc="0" normalizeH="0" baseline="0" noProof="0" dirty="0">
                <a:ln>
                  <a:noFill/>
                </a:ln>
                <a:solidFill>
                  <a:srgbClr val="FFFFFF"/>
                </a:solidFill>
                <a:effectLst/>
                <a:uLnTx/>
                <a:uFillTx/>
                <a:latin typeface="Helvetica LT Std" panose="020B0504020202020204"/>
                <a:sym typeface="Roboto Bold"/>
              </a:rPr>
              <a:t>1</a:t>
            </a:r>
            <a:endParaRPr kumimoji="0" sz="2400" b="0" i="0" u="none" strike="noStrike" kern="1200" cap="none" spc="0" normalizeH="0" baseline="0" noProof="0" dirty="0">
              <a:ln>
                <a:noFill/>
              </a:ln>
              <a:solidFill>
                <a:srgbClr val="FFFFFF"/>
              </a:solidFill>
              <a:effectLst/>
              <a:uLnTx/>
              <a:uFillTx/>
              <a:latin typeface="Helvetica LT Std" panose="020B0504020202020204"/>
              <a:sym typeface="Roboto Bold"/>
            </a:endParaRPr>
          </a:p>
        </p:txBody>
      </p:sp>
      <p:sp>
        <p:nvSpPr>
          <p:cNvPr id="7" name="Shape 331"/>
          <p:cNvSpPr/>
          <p:nvPr/>
        </p:nvSpPr>
        <p:spPr>
          <a:xfrm>
            <a:off x="6912502" y="305210"/>
            <a:ext cx="4625544"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smtClean="0">
                <a:ln>
                  <a:noFill/>
                </a:ln>
                <a:solidFill>
                  <a:schemeClr val="accent1">
                    <a:lumMod val="75000"/>
                  </a:schemeClr>
                </a:solidFill>
                <a:effectLst/>
                <a:uLnTx/>
                <a:uFillTx/>
                <a:latin typeface="Roboto Bold"/>
                <a:ea typeface="Roboto Bold"/>
                <a:cs typeface="Roboto Bold"/>
                <a:sym typeface="Roboto Bold"/>
              </a:rPr>
              <a:t>METODOLOGÍA</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marL="0" marR="0" lvl="0" indent="0" algn="l" defTabSz="914400" rtl="0" eaLnBrk="1" fontAlgn="auto" latinLnBrk="0" hangingPunct="1">
              <a:lnSpc>
                <a:spcPts val="2500"/>
              </a:lnSpc>
              <a:spcBef>
                <a:spcPts val="600"/>
              </a:spcBef>
              <a:spcAft>
                <a:spcPts val="0"/>
              </a:spcAft>
              <a:buClrTx/>
              <a:buSzTx/>
              <a:buFontTx/>
              <a:buNone/>
              <a:tabLst/>
              <a:defRPr sz="1800"/>
            </a:pPr>
            <a:r>
              <a:rPr lang="es-MX" sz="1400" cap="small" dirty="0" smtClean="0">
                <a:solidFill>
                  <a:srgbClr val="53585F"/>
                </a:solidFill>
                <a:latin typeface="Roboto Regular"/>
                <a:ea typeface="Roboto Regular"/>
                <a:cs typeface="Roboto Regular"/>
                <a:sym typeface="Roboto Regular"/>
              </a:rPr>
              <a:t>Como se va a trabajar para </a:t>
            </a:r>
            <a:r>
              <a:rPr lang="es-MX" sz="1400" cap="small" dirty="0">
                <a:solidFill>
                  <a:srgbClr val="53585F"/>
                </a:solidFill>
                <a:latin typeface="Roboto Regular"/>
                <a:ea typeface="Roboto Regular"/>
                <a:cs typeface="Roboto Regular"/>
                <a:sym typeface="Roboto Regular"/>
              </a:rPr>
              <a:t>lograr </a:t>
            </a:r>
            <a:r>
              <a:rPr lang="es-MX" sz="1400" cap="small" dirty="0" smtClean="0">
                <a:solidFill>
                  <a:srgbClr val="53585F"/>
                </a:solidFill>
                <a:latin typeface="Roboto Regular"/>
                <a:ea typeface="Roboto Regular"/>
                <a:cs typeface="Roboto Regular"/>
                <a:sym typeface="Roboto Regular"/>
              </a:rPr>
              <a:t>el objetivo</a:t>
            </a:r>
            <a:endParaRPr kumimoji="0" sz="1400" b="0" i="0" u="none" strike="noStrike" kern="1200" cap="small" spc="0" normalizeH="0" baseline="0" noProof="0" dirty="0">
              <a:ln>
                <a:noFill/>
              </a:ln>
              <a:solidFill>
                <a:srgbClr val="53585F"/>
              </a:solidFill>
              <a:effectLst/>
              <a:uLnTx/>
              <a:uFillTx/>
              <a:latin typeface="Roboto Regular"/>
              <a:ea typeface="Roboto Regular"/>
              <a:cs typeface="Roboto Regular"/>
              <a:sym typeface="Roboto Regular"/>
            </a:endParaRPr>
          </a:p>
        </p:txBody>
      </p:sp>
      <p:sp>
        <p:nvSpPr>
          <p:cNvPr id="8" name="Shape 332"/>
          <p:cNvSpPr/>
          <p:nvPr/>
        </p:nvSpPr>
        <p:spPr>
          <a:xfrm>
            <a:off x="6006569" y="1376891"/>
            <a:ext cx="549145" cy="447109"/>
          </a:xfrm>
          <a:prstGeom prst="rect">
            <a:avLst/>
          </a:prstGeom>
          <a:solidFill>
            <a:schemeClr val="accent1">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marL="0" marR="0" lvl="0" indent="0" algn="ctr" defTabSz="914400" rtl="0" eaLnBrk="1" fontAlgn="auto" latinLnBrk="0" hangingPunct="1">
              <a:lnSpc>
                <a:spcPts val="2500"/>
              </a:lnSpc>
              <a:spcBef>
                <a:spcPts val="600"/>
              </a:spcBef>
              <a:spcAft>
                <a:spcPts val="0"/>
              </a:spcAft>
              <a:buClrTx/>
              <a:buSzTx/>
              <a:buFontTx/>
              <a:buNone/>
              <a:tabLst/>
              <a:defRPr/>
            </a:pPr>
            <a:r>
              <a:rPr kumimoji="0" lang="es-MX"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rPr>
              <a:t>2</a:t>
            </a:r>
            <a:endParaRPr kumimoji="0"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endParaRPr>
          </a:p>
        </p:txBody>
      </p:sp>
      <p:sp>
        <p:nvSpPr>
          <p:cNvPr id="11" name="Shape 335"/>
          <p:cNvSpPr/>
          <p:nvPr/>
        </p:nvSpPr>
        <p:spPr>
          <a:xfrm>
            <a:off x="6006569" y="2563411"/>
            <a:ext cx="549145" cy="447109"/>
          </a:xfrm>
          <a:prstGeom prst="rect">
            <a:avLst/>
          </a:prstGeom>
          <a:solidFill>
            <a:srgbClr val="59595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marL="0" marR="0" lvl="0" indent="0" algn="ctr" defTabSz="914400" rtl="0" eaLnBrk="1" fontAlgn="auto" latinLnBrk="0" hangingPunct="1">
              <a:lnSpc>
                <a:spcPts val="2500"/>
              </a:lnSpc>
              <a:spcBef>
                <a:spcPts val="600"/>
              </a:spcBef>
              <a:spcAft>
                <a:spcPts val="0"/>
              </a:spcAft>
              <a:buClrTx/>
              <a:buSzTx/>
              <a:buFontTx/>
              <a:buNone/>
              <a:tabLst/>
              <a:defRPr/>
            </a:pPr>
            <a:r>
              <a:rPr kumimoji="0" lang="es-MX"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rPr>
              <a:t>3</a:t>
            </a:r>
            <a:endParaRPr kumimoji="0"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endParaRPr>
          </a:p>
        </p:txBody>
      </p:sp>
      <p:sp>
        <p:nvSpPr>
          <p:cNvPr id="14" name="Shape 338"/>
          <p:cNvSpPr/>
          <p:nvPr/>
        </p:nvSpPr>
        <p:spPr>
          <a:xfrm>
            <a:off x="6006568" y="3749931"/>
            <a:ext cx="549145" cy="447109"/>
          </a:xfrm>
          <a:prstGeom prst="rect">
            <a:avLst/>
          </a:prstGeom>
          <a:solidFill>
            <a:schemeClr val="accent1">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marL="0" marR="0" lvl="0" indent="0" algn="ctr" defTabSz="914400" rtl="0" eaLnBrk="1" fontAlgn="auto" latinLnBrk="0" hangingPunct="1">
              <a:lnSpc>
                <a:spcPts val="2500"/>
              </a:lnSpc>
              <a:spcBef>
                <a:spcPts val="600"/>
              </a:spcBef>
              <a:spcAft>
                <a:spcPts val="0"/>
              </a:spcAft>
              <a:buClrTx/>
              <a:buSzTx/>
              <a:buFontTx/>
              <a:buNone/>
              <a:tabLst/>
              <a:defRPr/>
            </a:pPr>
            <a:r>
              <a:rPr kumimoji="0" lang="es-MX"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rPr>
              <a:t>4</a:t>
            </a:r>
            <a:endParaRPr kumimoji="0"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endParaRPr>
          </a:p>
        </p:txBody>
      </p:sp>
      <p:sp>
        <p:nvSpPr>
          <p:cNvPr id="16" name="TextBox 15"/>
          <p:cNvSpPr txBox="1"/>
          <p:nvPr/>
        </p:nvSpPr>
        <p:spPr>
          <a:xfrm>
            <a:off x="425433" y="2751127"/>
            <a:ext cx="4517583"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srgbClr val="0075BF"/>
                </a:solidFill>
                <a:effectLst/>
                <a:uLnTx/>
                <a:uFillTx/>
                <a:latin typeface="Helvetica LT Std" panose="020B0504020202020204"/>
                <a:ea typeface="+mn-ea"/>
                <a:cs typeface="+mn-cs"/>
              </a:rPr>
              <a:t>AGENDA</a:t>
            </a:r>
          </a:p>
        </p:txBody>
      </p:sp>
      <p:sp>
        <p:nvSpPr>
          <p:cNvPr id="15" name="Shape 329"/>
          <p:cNvSpPr/>
          <p:nvPr/>
        </p:nvSpPr>
        <p:spPr>
          <a:xfrm>
            <a:off x="6006567" y="5048460"/>
            <a:ext cx="549145" cy="447109"/>
          </a:xfrm>
          <a:prstGeom prst="rect">
            <a:avLst/>
          </a:prstGeom>
          <a:solidFill>
            <a:srgbClr val="59595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ts val="2500"/>
              </a:lnSpc>
              <a:spcBef>
                <a:spcPts val="600"/>
              </a:spcBef>
              <a:defRPr sz="2500" spc="0">
                <a:solidFill>
                  <a:srgbClr val="FFFFFF"/>
                </a:solidFill>
                <a:latin typeface="Roboto Bold"/>
                <a:ea typeface="Roboto Bold"/>
                <a:cs typeface="Roboto Bold"/>
                <a:sym typeface="Roboto Bold"/>
              </a:defRPr>
            </a:lvl1pPr>
          </a:lstStyle>
          <a:p>
            <a:pPr marL="0" marR="0" lvl="0" indent="0" algn="ctr" defTabSz="914400" rtl="0" eaLnBrk="1" fontAlgn="auto" latinLnBrk="0" hangingPunct="1">
              <a:lnSpc>
                <a:spcPts val="2500"/>
              </a:lnSpc>
              <a:spcBef>
                <a:spcPts val="600"/>
              </a:spcBef>
              <a:spcAft>
                <a:spcPts val="0"/>
              </a:spcAft>
              <a:buClrTx/>
              <a:buSzTx/>
              <a:buFontTx/>
              <a:buNone/>
              <a:tabLst/>
              <a:defRPr sz="1800" spc="0">
                <a:solidFill>
                  <a:srgbClr val="000000"/>
                </a:solidFill>
              </a:defRPr>
            </a:pPr>
            <a:r>
              <a:rPr kumimoji="0" lang="es-MX" sz="2400" b="0" i="0" u="none" strike="noStrike" kern="1200" cap="none" spc="0" normalizeH="0" baseline="0" noProof="0" dirty="0">
                <a:ln>
                  <a:noFill/>
                </a:ln>
                <a:solidFill>
                  <a:srgbClr val="FFFFFF"/>
                </a:solidFill>
                <a:effectLst/>
                <a:uLnTx/>
                <a:uFillTx/>
                <a:latin typeface="Helvetica LT Std" panose="020B0504020202020204"/>
                <a:sym typeface="Roboto Bold"/>
              </a:rPr>
              <a:t>5</a:t>
            </a:r>
            <a:endParaRPr kumimoji="0" sz="2400" b="0" i="0" u="none" strike="noStrike" kern="1200" cap="none" spc="0" normalizeH="0" baseline="0" noProof="0" dirty="0">
              <a:ln>
                <a:noFill/>
              </a:ln>
              <a:solidFill>
                <a:srgbClr val="FFFFFF"/>
              </a:solidFill>
              <a:effectLst/>
              <a:uLnTx/>
              <a:uFillTx/>
              <a:latin typeface="Helvetica LT Std" panose="020B0504020202020204"/>
              <a:sym typeface="Roboto Bold"/>
            </a:endParaRPr>
          </a:p>
        </p:txBody>
      </p:sp>
      <p:sp>
        <p:nvSpPr>
          <p:cNvPr id="13" name="Shape 328">
            <a:extLst>
              <a:ext uri="{FF2B5EF4-FFF2-40B4-BE49-F238E27FC236}">
                <a16:creationId xmlns:a16="http://schemas.microsoft.com/office/drawing/2014/main" id="{91511E30-18A4-4779-A5B8-7B4553C07C88}"/>
              </a:ext>
            </a:extLst>
          </p:cNvPr>
          <p:cNvSpPr/>
          <p:nvPr/>
        </p:nvSpPr>
        <p:spPr>
          <a:xfrm>
            <a:off x="6929755" y="1325662"/>
            <a:ext cx="4625544"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lvl="0">
              <a:lnSpc>
                <a:spcPts val="2600"/>
              </a:lnSpc>
              <a:spcBef>
                <a:spcPts val="600"/>
              </a:spcBef>
              <a:defRPr sz="1800"/>
            </a:pPr>
            <a:r>
              <a:rPr lang="es-CO" dirty="0" smtClean="0">
                <a:solidFill>
                  <a:prstClr val="black"/>
                </a:solidFill>
                <a:latin typeface="Roboto Bold"/>
                <a:ea typeface="Roboto Bold"/>
                <a:cs typeface="Roboto Bold"/>
                <a:sym typeface="Roboto Bold"/>
              </a:rPr>
              <a:t>ALCANCE Y </a:t>
            </a:r>
            <a:r>
              <a:rPr kumimoji="0" lang="es-CO" sz="1800" b="0" i="0" u="none" strike="noStrike" kern="1200" cap="none" spc="0" normalizeH="0" baseline="0" noProof="0" dirty="0" smtClean="0">
                <a:ln>
                  <a:noFill/>
                </a:ln>
                <a:solidFill>
                  <a:prstClr val="black"/>
                </a:solidFill>
                <a:effectLst/>
                <a:uLnTx/>
                <a:uFillTx/>
                <a:latin typeface="Roboto Bold"/>
                <a:ea typeface="Roboto Bold"/>
                <a:cs typeface="Roboto Bold"/>
                <a:sym typeface="Roboto Bold"/>
              </a:rPr>
              <a:t>PLAZOS</a:t>
            </a:r>
            <a:endParaRPr kumimoji="0" sz="1800" b="0" i="0" u="none" strike="noStrike" kern="1200" cap="none" spc="0" normalizeH="0" baseline="0" noProof="0" dirty="0">
              <a:ln>
                <a:noFill/>
              </a:ln>
              <a:solidFill>
                <a:prstClr val="black"/>
              </a:solidFill>
              <a:effectLst/>
              <a:uLnTx/>
              <a:uFillTx/>
              <a:latin typeface="Roboto Bold"/>
              <a:ea typeface="Roboto Bold"/>
              <a:cs typeface="Roboto Bold"/>
              <a:sym typeface="Roboto Bold"/>
            </a:endParaRPr>
          </a:p>
          <a:p>
            <a:pPr lvl="0">
              <a:lnSpc>
                <a:spcPts val="2500"/>
              </a:lnSpc>
              <a:spcBef>
                <a:spcPts val="600"/>
              </a:spcBef>
              <a:defRPr sz="1800"/>
            </a:pPr>
            <a:r>
              <a:rPr lang="es-MX" sz="1400" cap="small" dirty="0" smtClean="0">
                <a:solidFill>
                  <a:srgbClr val="53585F"/>
                </a:solidFill>
                <a:latin typeface="Roboto Regular"/>
                <a:ea typeface="Roboto Regular"/>
                <a:cs typeface="Roboto Regular"/>
                <a:sym typeface="Roboto Regular"/>
              </a:rPr>
              <a:t>Principales hitos del proyecto</a:t>
            </a:r>
            <a:endParaRPr lang="es-MX" sz="1400" cap="small" dirty="0">
              <a:solidFill>
                <a:srgbClr val="53585F"/>
              </a:solidFill>
              <a:latin typeface="Roboto Regular"/>
              <a:ea typeface="Roboto Regular"/>
              <a:cs typeface="Roboto Regular"/>
              <a:sym typeface="Roboto Regular"/>
            </a:endParaRPr>
          </a:p>
        </p:txBody>
      </p:sp>
      <p:sp>
        <p:nvSpPr>
          <p:cNvPr id="17" name="Shape 331">
            <a:extLst>
              <a:ext uri="{FF2B5EF4-FFF2-40B4-BE49-F238E27FC236}">
                <a16:creationId xmlns:a16="http://schemas.microsoft.com/office/drawing/2014/main" id="{CB032D33-01C2-452F-87B8-C23611A03775}"/>
              </a:ext>
            </a:extLst>
          </p:cNvPr>
          <p:cNvSpPr/>
          <p:nvPr/>
        </p:nvSpPr>
        <p:spPr>
          <a:xfrm>
            <a:off x="6947006" y="2526417"/>
            <a:ext cx="4887271"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rPr>
              <a:t>ROLES Y ESTRUCTURA </a:t>
            </a:r>
            <a:r>
              <a:rPr kumimoji="0" lang="es-CO" sz="1800" b="0" i="0" u="none" strike="noStrike" kern="1200" cap="none" spc="0" normalizeH="0" baseline="0" noProof="0" dirty="0" smtClean="0">
                <a:ln>
                  <a:noFill/>
                </a:ln>
                <a:solidFill>
                  <a:schemeClr val="accent1">
                    <a:lumMod val="75000"/>
                  </a:schemeClr>
                </a:solidFill>
                <a:effectLst/>
                <a:uLnTx/>
                <a:uFillTx/>
                <a:latin typeface="Roboto Bold"/>
                <a:ea typeface="Roboto Bold"/>
                <a:cs typeface="Roboto Bold"/>
                <a:sym typeface="Roboto Bold"/>
              </a:rPr>
              <a:t>DEL PROYECTO</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a:lnSpc>
                <a:spcPts val="2500"/>
              </a:lnSpc>
              <a:spcBef>
                <a:spcPts val="600"/>
              </a:spcBef>
              <a:defRPr sz="1800"/>
            </a:pPr>
            <a:r>
              <a:rPr lang="es-MX" sz="1400" cap="small" dirty="0">
                <a:solidFill>
                  <a:srgbClr val="53585F"/>
                </a:solidFill>
                <a:latin typeface="Roboto Regular"/>
                <a:ea typeface="Roboto Regular"/>
                <a:cs typeface="Roboto Regular"/>
                <a:sym typeface="Roboto Regular"/>
              </a:rPr>
              <a:t>Quienes vamos a trabajar en el proyecto</a:t>
            </a:r>
          </a:p>
        </p:txBody>
      </p:sp>
      <p:sp>
        <p:nvSpPr>
          <p:cNvPr id="18" name="Shape 331">
            <a:extLst>
              <a:ext uri="{FF2B5EF4-FFF2-40B4-BE49-F238E27FC236}">
                <a16:creationId xmlns:a16="http://schemas.microsoft.com/office/drawing/2014/main" id="{84B947C8-3F80-4714-99B1-14EF4ECB079E}"/>
              </a:ext>
            </a:extLst>
          </p:cNvPr>
          <p:cNvSpPr/>
          <p:nvPr/>
        </p:nvSpPr>
        <p:spPr>
          <a:xfrm>
            <a:off x="6879056" y="4959835"/>
            <a:ext cx="4887271"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lang="es-CO" dirty="0">
                <a:solidFill>
                  <a:schemeClr val="accent1">
                    <a:lumMod val="75000"/>
                  </a:schemeClr>
                </a:solidFill>
                <a:latin typeface="Roboto Bold"/>
                <a:ea typeface="Roboto Bold"/>
                <a:cs typeface="Roboto Bold"/>
                <a:sym typeface="Roboto Bold"/>
              </a:rPr>
              <a:t>SIGUIENTES PASOS</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a:lnSpc>
                <a:spcPts val="2500"/>
              </a:lnSpc>
              <a:spcBef>
                <a:spcPts val="600"/>
              </a:spcBef>
              <a:defRPr sz="1800"/>
            </a:pPr>
            <a:r>
              <a:rPr lang="es-MX" sz="1400" cap="small" dirty="0">
                <a:solidFill>
                  <a:srgbClr val="53585F"/>
                </a:solidFill>
                <a:latin typeface="Roboto Regular"/>
                <a:ea typeface="Roboto Regular"/>
                <a:cs typeface="Roboto Regular"/>
                <a:sym typeface="Roboto Regular"/>
              </a:rPr>
              <a:t>Actividades de las próximas semanas</a:t>
            </a:r>
          </a:p>
        </p:txBody>
      </p:sp>
      <p:sp>
        <p:nvSpPr>
          <p:cNvPr id="20" name="Shape 328">
            <a:extLst>
              <a:ext uri="{FF2B5EF4-FFF2-40B4-BE49-F238E27FC236}">
                <a16:creationId xmlns:a16="http://schemas.microsoft.com/office/drawing/2014/main" id="{8D15DA90-EBAA-4284-B65D-E1FD84A58956}"/>
              </a:ext>
            </a:extLst>
          </p:cNvPr>
          <p:cNvSpPr/>
          <p:nvPr/>
        </p:nvSpPr>
        <p:spPr>
          <a:xfrm>
            <a:off x="6935468" y="3661522"/>
            <a:ext cx="4625544"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a:ln>
                  <a:noFill/>
                </a:ln>
                <a:solidFill>
                  <a:prstClr val="black"/>
                </a:solidFill>
                <a:effectLst/>
                <a:uLnTx/>
                <a:uFillTx/>
                <a:latin typeface="Roboto Bold"/>
                <a:ea typeface="Roboto Bold"/>
                <a:cs typeface="Roboto Bold"/>
                <a:sym typeface="Roboto Bold"/>
              </a:rPr>
              <a:t>PLAN DE COMUNICACIONES</a:t>
            </a:r>
          </a:p>
          <a:p>
            <a:pPr marL="0" marR="0" lvl="0" indent="0" algn="l" defTabSz="914400" rtl="0" eaLnBrk="1" fontAlgn="auto" latinLnBrk="0" hangingPunct="1">
              <a:lnSpc>
                <a:spcPts val="2500"/>
              </a:lnSpc>
              <a:spcBef>
                <a:spcPts val="600"/>
              </a:spcBef>
              <a:spcAft>
                <a:spcPts val="0"/>
              </a:spcAft>
              <a:buClrTx/>
              <a:buSzTx/>
              <a:buFontTx/>
              <a:buNone/>
              <a:tabLst/>
              <a:defRPr sz="1800"/>
            </a:pPr>
            <a:r>
              <a:rPr lang="es-MX" sz="1400" cap="small" dirty="0">
                <a:solidFill>
                  <a:srgbClr val="53585F"/>
                </a:solidFill>
                <a:latin typeface="Roboto Regular"/>
                <a:ea typeface="Roboto Regular"/>
                <a:cs typeface="Roboto Regular"/>
                <a:sym typeface="Roboto Regular"/>
              </a:rPr>
              <a:t>Esquemas de seguimiento y escalamiento</a:t>
            </a:r>
            <a:endParaRPr kumimoji="0" lang="es-CO" sz="1400" b="0" i="0" u="none" strike="noStrike" kern="1200" cap="small" spc="0" normalizeH="0" baseline="0" noProof="0" dirty="0">
              <a:ln>
                <a:noFill/>
              </a:ln>
              <a:solidFill>
                <a:srgbClr val="53585F"/>
              </a:solidFill>
              <a:effectLst/>
              <a:uLnTx/>
              <a:uFillTx/>
              <a:latin typeface="Roboto Regular"/>
              <a:ea typeface="Roboto Regular"/>
              <a:cs typeface="Roboto Regular"/>
              <a:sym typeface="Roboto Regular"/>
            </a:endParaRPr>
          </a:p>
        </p:txBody>
      </p:sp>
    </p:spTree>
    <p:extLst>
      <p:ext uri="{BB962C8B-B14F-4D97-AF65-F5344CB8AC3E}">
        <p14:creationId xmlns:p14="http://schemas.microsoft.com/office/powerpoint/2010/main" val="2879801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39214"/>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smtClean="0">
                <a:solidFill>
                  <a:srgbClr val="00B0F0"/>
                </a:solidFill>
                <a:latin typeface="Roboto Light"/>
                <a:ea typeface="Roboto Light"/>
                <a:cs typeface="Roboto Light"/>
                <a:sym typeface="Roboto Light"/>
              </a:rPr>
              <a:t>Metodología </a:t>
            </a:r>
            <a:endParaRPr lang="es-PE" sz="3200" dirty="0">
              <a:solidFill>
                <a:srgbClr val="00B0F0"/>
              </a:solidFill>
              <a:latin typeface="Roboto Light"/>
              <a:ea typeface="Roboto Light"/>
              <a:cs typeface="Roboto Light"/>
              <a:sym typeface="Roboto Light"/>
            </a:endParaRPr>
          </a:p>
        </p:txBody>
      </p:sp>
      <p:sp>
        <p:nvSpPr>
          <p:cNvPr id="223" name="Rounded Rectangle 107">
            <a:extLst>
              <a:ext uri="{FF2B5EF4-FFF2-40B4-BE49-F238E27FC236}">
                <a16:creationId xmlns:a16="http://schemas.microsoft.com/office/drawing/2014/main" id="{4F5564BD-D544-4AEF-9067-D5F566F2C2C9}"/>
              </a:ext>
            </a:extLst>
          </p:cNvPr>
          <p:cNvSpPr/>
          <p:nvPr/>
        </p:nvSpPr>
        <p:spPr bwMode="auto">
          <a:xfrm>
            <a:off x="325821" y="788985"/>
            <a:ext cx="11498317" cy="377663"/>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defTabSz="913516">
              <a:lnSpc>
                <a:spcPct val="90000"/>
              </a:lnSpc>
            </a:pPr>
            <a:r>
              <a:rPr lang="es-PE" sz="1467" b="1" dirty="0" smtClean="0">
                <a:solidFill>
                  <a:schemeClr val="bg1"/>
                </a:solidFill>
                <a:latin typeface="+mj-lt"/>
                <a:ea typeface="Segoe UI" pitchFamily="34" charset="0"/>
                <a:cs typeface="Segoe UI" pitchFamily="34" charset="0"/>
              </a:rPr>
              <a:t>Metodología de Gestión </a:t>
            </a:r>
            <a:r>
              <a:rPr lang="es-PE" sz="1467" b="1" dirty="0">
                <a:solidFill>
                  <a:schemeClr val="bg1"/>
                </a:solidFill>
                <a:latin typeface="+mj-lt"/>
                <a:ea typeface="Segoe UI" pitchFamily="34" charset="0"/>
                <a:cs typeface="Segoe UI" pitchFamily="34" charset="0"/>
              </a:rPr>
              <a:t>del proyecto </a:t>
            </a:r>
          </a:p>
        </p:txBody>
      </p:sp>
      <p:sp>
        <p:nvSpPr>
          <p:cNvPr id="269" name="Freeform 122">
            <a:extLst>
              <a:ext uri="{FF2B5EF4-FFF2-40B4-BE49-F238E27FC236}">
                <a16:creationId xmlns:a16="http://schemas.microsoft.com/office/drawing/2014/main" id="{861670A0-08CB-4798-9E20-D78EFC082B4C}"/>
              </a:ext>
            </a:extLst>
          </p:cNvPr>
          <p:cNvSpPr>
            <a:spLocks noChangeAspect="1"/>
          </p:cNvSpPr>
          <p:nvPr/>
        </p:nvSpPr>
        <p:spPr bwMode="black">
          <a:xfrm rot="4684838">
            <a:off x="3461012" y="5913009"/>
            <a:ext cx="345788" cy="348769"/>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126847" tIns="63423" rIns="126847" bIns="63423" numCol="1" anchor="t" anchorCtr="0" compatLnSpc="1">
            <a:prstTxWarp prst="textNoShape">
              <a:avLst/>
            </a:prstTxWarp>
          </a:bodyPr>
          <a:lstStyle/>
          <a:p>
            <a:endParaRPr lang="es-PE" sz="2448">
              <a:solidFill>
                <a:schemeClr val="bg1"/>
              </a:solidFill>
              <a:latin typeface="+mj-lt"/>
            </a:endParaRPr>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76" name="75 Rectángulo"/>
          <p:cNvSpPr/>
          <p:nvPr/>
        </p:nvSpPr>
        <p:spPr>
          <a:xfrm>
            <a:off x="325821" y="1381537"/>
            <a:ext cx="11470257" cy="2031325"/>
          </a:xfrm>
          <a:prstGeom prst="rect">
            <a:avLst/>
          </a:prstGeom>
        </p:spPr>
        <p:txBody>
          <a:bodyPr wrap="square">
            <a:spAutoFit/>
          </a:bodyPr>
          <a:lstStyle/>
          <a:p>
            <a:pPr marL="171450" lvl="0" indent="-171450" eaLnBrk="0" fontAlgn="base" hangingPunct="0">
              <a:spcBef>
                <a:spcPct val="0"/>
              </a:spcBef>
              <a:spcAft>
                <a:spcPct val="0"/>
              </a:spcAft>
              <a:buFont typeface="Arial" panose="020B0604020202020204" pitchFamily="34" charset="0"/>
              <a:buChar char="•"/>
            </a:pP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Debido a la característica del proyecto, se aplicará una combinación de metodologías: Ágil y Tradicional. Para lograr el objetivo se necesitará lo siguiente:</a:t>
            </a:r>
          </a:p>
          <a:p>
            <a:pPr lvl="0" eaLnBrk="0" fontAlgn="base" hangingPunct="0">
              <a:spcBef>
                <a:spcPct val="0"/>
              </a:spcBef>
              <a:spcAft>
                <a:spcPct val="0"/>
              </a:spcAft>
            </a:pPr>
            <a:endPar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endParaRPr>
          </a:p>
          <a:p>
            <a:pPr marL="628650" lvl="1" indent="-171450" eaLnBrk="0" fontAlgn="base" hangingPunct="0">
              <a:spcBef>
                <a:spcPct val="0"/>
              </a:spcBef>
              <a:spcAft>
                <a:spcPct val="0"/>
              </a:spcAft>
              <a:buFont typeface="Wingdings" pitchFamily="2" charset="2"/>
              <a:buChar char="Ø"/>
            </a:pP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Usuario normativo debe encontrarse físicamente en la misma ubicación de los equipos de Desarrollo y Calidad y participar activamente durante todo el proyecto para la resolución de dudas del proyecto.</a:t>
            </a:r>
          </a:p>
          <a:p>
            <a:pPr marL="628650" lvl="1" indent="-171450" eaLnBrk="0" fontAlgn="base" hangingPunct="0">
              <a:spcBef>
                <a:spcPct val="0"/>
              </a:spcBef>
              <a:spcAft>
                <a:spcPct val="0"/>
              </a:spcAft>
              <a:buFont typeface="Wingdings" pitchFamily="2" charset="2"/>
              <a:buChar char="Ø"/>
            </a:pP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Arquitectura Tecnológica deberá brindar apoyo durante todo el ciclo de vida de la construcción del producto.</a:t>
            </a:r>
            <a:endPar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90" name="89 Rectángulo"/>
          <p:cNvSpPr/>
          <p:nvPr/>
        </p:nvSpPr>
        <p:spPr>
          <a:xfrm>
            <a:off x="2864024" y="4492282"/>
            <a:ext cx="3252159" cy="5783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PE" dirty="0" smtClean="0"/>
              <a:t>Desarrollo</a:t>
            </a:r>
          </a:p>
        </p:txBody>
      </p:sp>
      <p:sp>
        <p:nvSpPr>
          <p:cNvPr id="94" name="93 Rectángulo"/>
          <p:cNvSpPr/>
          <p:nvPr/>
        </p:nvSpPr>
        <p:spPr>
          <a:xfrm>
            <a:off x="6147812" y="4489407"/>
            <a:ext cx="3252159" cy="581195"/>
          </a:xfrm>
          <a:prstGeom prst="rect">
            <a:avLst/>
          </a:prstGeom>
          <a:solidFill>
            <a:srgbClr val="33CC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dirty="0" smtClean="0"/>
              <a:t>Control de Calidad</a:t>
            </a:r>
            <a:endParaRPr lang="es-PE" dirty="0"/>
          </a:p>
        </p:txBody>
      </p:sp>
      <p:sp>
        <p:nvSpPr>
          <p:cNvPr id="100" name="99 Rectángulo"/>
          <p:cNvSpPr/>
          <p:nvPr/>
        </p:nvSpPr>
        <p:spPr>
          <a:xfrm>
            <a:off x="1762717" y="3888826"/>
            <a:ext cx="3620165" cy="568945"/>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PE" dirty="0" smtClean="0"/>
              <a:t>Definición</a:t>
            </a:r>
            <a:endParaRPr lang="es-PE" dirty="0"/>
          </a:p>
        </p:txBody>
      </p:sp>
      <p:sp>
        <p:nvSpPr>
          <p:cNvPr id="104" name="103 Rectángulo"/>
          <p:cNvSpPr/>
          <p:nvPr/>
        </p:nvSpPr>
        <p:spPr>
          <a:xfrm>
            <a:off x="1828801" y="5715412"/>
            <a:ext cx="7571170" cy="57716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s-PE" dirty="0" smtClean="0">
                <a:solidFill>
                  <a:schemeClr val="tx1"/>
                </a:solidFill>
              </a:rPr>
              <a:t>Soporte Operativo</a:t>
            </a:r>
            <a:endParaRPr lang="es-PE" dirty="0">
              <a:solidFill>
                <a:schemeClr val="tx1"/>
              </a:solidFill>
            </a:endParaRPr>
          </a:p>
        </p:txBody>
      </p:sp>
      <p:sp>
        <p:nvSpPr>
          <p:cNvPr id="105" name="104 Rectángulo"/>
          <p:cNvSpPr/>
          <p:nvPr/>
        </p:nvSpPr>
        <p:spPr>
          <a:xfrm>
            <a:off x="1820226" y="5102581"/>
            <a:ext cx="7579745" cy="58695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s-PE" dirty="0" smtClean="0"/>
              <a:t>Arquitectura Tecnológica</a:t>
            </a:r>
            <a:endParaRPr lang="es-PE" dirty="0"/>
          </a:p>
        </p:txBody>
      </p:sp>
    </p:spTree>
    <p:extLst>
      <p:ext uri="{BB962C8B-B14F-4D97-AF65-F5344CB8AC3E}">
        <p14:creationId xmlns:p14="http://schemas.microsoft.com/office/powerpoint/2010/main" val="2461942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Alcance del proyecto</a:t>
            </a:r>
          </a:p>
        </p:txBody>
      </p:sp>
      <p:sp>
        <p:nvSpPr>
          <p:cNvPr id="220" name="Rounded Rectangle 96">
            <a:extLst>
              <a:ext uri="{FF2B5EF4-FFF2-40B4-BE49-F238E27FC236}">
                <a16:creationId xmlns:a16="http://schemas.microsoft.com/office/drawing/2014/main" id="{1A0C7B42-D55A-48CB-9CC3-70958E1FC5AD}"/>
              </a:ext>
            </a:extLst>
          </p:cNvPr>
          <p:cNvSpPr/>
          <p:nvPr/>
        </p:nvSpPr>
        <p:spPr bwMode="auto">
          <a:xfrm>
            <a:off x="318029" y="785697"/>
            <a:ext cx="3690422" cy="3017860"/>
          </a:xfrm>
          <a:prstGeom prst="roundRect">
            <a:avLst>
              <a:gd name="adj" fmla="val 0"/>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2000" b="1" dirty="0">
              <a:solidFill>
                <a:schemeClr val="tx1"/>
              </a:solidFill>
              <a:latin typeface="+mj-lt"/>
              <a:ea typeface="Segoe UI" pitchFamily="34" charset="0"/>
              <a:cs typeface="Segoe UI" pitchFamily="34" charset="0"/>
            </a:endParaRPr>
          </a:p>
        </p:txBody>
      </p:sp>
      <p:sp>
        <p:nvSpPr>
          <p:cNvPr id="221" name="Rounded Rectangle 96">
            <a:extLst>
              <a:ext uri="{FF2B5EF4-FFF2-40B4-BE49-F238E27FC236}">
                <a16:creationId xmlns:a16="http://schemas.microsoft.com/office/drawing/2014/main" id="{D02C3800-BEAA-4DF1-BCC4-67F88F093632}"/>
              </a:ext>
            </a:extLst>
          </p:cNvPr>
          <p:cNvSpPr/>
          <p:nvPr/>
        </p:nvSpPr>
        <p:spPr bwMode="auto">
          <a:xfrm>
            <a:off x="341415" y="3905382"/>
            <a:ext cx="3667036" cy="2705050"/>
          </a:xfrm>
          <a:prstGeom prst="roundRect">
            <a:avLst>
              <a:gd name="adj" fmla="val 0"/>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2133" b="1" dirty="0">
              <a:solidFill>
                <a:schemeClr val="tx1"/>
              </a:solidFill>
              <a:latin typeface="+mj-lt"/>
              <a:ea typeface="Segoe UI" pitchFamily="34" charset="0"/>
              <a:cs typeface="Segoe UI" pitchFamily="34" charset="0"/>
            </a:endParaRPr>
          </a:p>
        </p:txBody>
      </p:sp>
      <p:sp>
        <p:nvSpPr>
          <p:cNvPr id="222" name="Rounded Rectangle 105">
            <a:extLst>
              <a:ext uri="{FF2B5EF4-FFF2-40B4-BE49-F238E27FC236}">
                <a16:creationId xmlns:a16="http://schemas.microsoft.com/office/drawing/2014/main" id="{43C9DD48-3BF6-464E-9FB5-D931EC59ADDB}"/>
              </a:ext>
            </a:extLst>
          </p:cNvPr>
          <p:cNvSpPr/>
          <p:nvPr/>
        </p:nvSpPr>
        <p:spPr bwMode="auto">
          <a:xfrm>
            <a:off x="4287685" y="799452"/>
            <a:ext cx="3868923" cy="5810979"/>
          </a:xfrm>
          <a:prstGeom prst="roundRect">
            <a:avLst>
              <a:gd name="adj" fmla="val 0"/>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1175">
              <a:solidFill>
                <a:schemeClr val="tx1"/>
              </a:solidFill>
              <a:latin typeface="+mj-lt"/>
              <a:ea typeface="Segoe UI" pitchFamily="34" charset="0"/>
              <a:cs typeface="Segoe UI" pitchFamily="34" charset="0"/>
            </a:endParaRPr>
          </a:p>
        </p:txBody>
      </p:sp>
      <p:sp>
        <p:nvSpPr>
          <p:cNvPr id="225" name="TextBox 224">
            <a:extLst>
              <a:ext uri="{FF2B5EF4-FFF2-40B4-BE49-F238E27FC236}">
                <a16:creationId xmlns:a16="http://schemas.microsoft.com/office/drawing/2014/main" id="{DFBD274C-43ED-401D-A327-7DF8F03645F3}"/>
              </a:ext>
            </a:extLst>
          </p:cNvPr>
          <p:cNvSpPr txBox="1"/>
          <p:nvPr/>
        </p:nvSpPr>
        <p:spPr>
          <a:xfrm>
            <a:off x="468824" y="3987592"/>
            <a:ext cx="3169538" cy="738664"/>
          </a:xfrm>
          <a:prstGeom prst="rect">
            <a:avLst/>
          </a:prstGeom>
          <a:noFill/>
        </p:spPr>
        <p:txBody>
          <a:bodyPr wrap="square" lIns="0" tIns="0" rIns="0" bIns="0" rtlCol="0">
            <a:spAutoFit/>
          </a:bodyPr>
          <a:lstStyle/>
          <a:p>
            <a:pPr lvl="0"/>
            <a:r>
              <a:rPr lang="es-PE" sz="2400" b="1" dirty="0" smtClean="0"/>
              <a:t>Control de Declaración IGV - Renta Mensual</a:t>
            </a:r>
            <a:endParaRPr lang="es-PE" sz="2400" b="1" dirty="0"/>
          </a:p>
        </p:txBody>
      </p:sp>
      <p:sp>
        <p:nvSpPr>
          <p:cNvPr id="227" name="TextBox 226">
            <a:extLst>
              <a:ext uri="{FF2B5EF4-FFF2-40B4-BE49-F238E27FC236}">
                <a16:creationId xmlns:a16="http://schemas.microsoft.com/office/drawing/2014/main" id="{90D319E9-70D8-4A72-8475-CEA2E248487F}"/>
              </a:ext>
            </a:extLst>
          </p:cNvPr>
          <p:cNvSpPr txBox="1"/>
          <p:nvPr/>
        </p:nvSpPr>
        <p:spPr>
          <a:xfrm>
            <a:off x="465825" y="865787"/>
            <a:ext cx="4915471" cy="738664"/>
          </a:xfrm>
          <a:prstGeom prst="rect">
            <a:avLst/>
          </a:prstGeom>
          <a:noFill/>
        </p:spPr>
        <p:txBody>
          <a:bodyPr wrap="square" lIns="0" tIns="0" rIns="0" bIns="0" rtlCol="0">
            <a:spAutoFit/>
          </a:bodyPr>
          <a:lstStyle/>
          <a:p>
            <a:pPr lvl="0"/>
            <a:r>
              <a:rPr lang="es-PE" sz="2400" b="1" dirty="0" smtClean="0"/>
              <a:t>Registro Único de </a:t>
            </a:r>
          </a:p>
          <a:p>
            <a:pPr lvl="0"/>
            <a:r>
              <a:rPr lang="es-PE" sz="2400" b="1" dirty="0" smtClean="0"/>
              <a:t>Contribuyente</a:t>
            </a:r>
            <a:endParaRPr lang="es-PE" sz="2400" b="1" dirty="0"/>
          </a:p>
        </p:txBody>
      </p:sp>
      <p:sp>
        <p:nvSpPr>
          <p:cNvPr id="228" name="TextBox 227">
            <a:extLst>
              <a:ext uri="{FF2B5EF4-FFF2-40B4-BE49-F238E27FC236}">
                <a16:creationId xmlns:a16="http://schemas.microsoft.com/office/drawing/2014/main" id="{C792C210-BA77-4DF5-8AF9-B8462EEC602C}"/>
              </a:ext>
            </a:extLst>
          </p:cNvPr>
          <p:cNvSpPr txBox="1"/>
          <p:nvPr/>
        </p:nvSpPr>
        <p:spPr>
          <a:xfrm>
            <a:off x="4456990" y="841600"/>
            <a:ext cx="2939039" cy="738664"/>
          </a:xfrm>
          <a:prstGeom prst="rect">
            <a:avLst/>
          </a:prstGeom>
          <a:noFill/>
        </p:spPr>
        <p:txBody>
          <a:bodyPr wrap="square" lIns="0" tIns="0" rIns="0" bIns="0" rtlCol="0">
            <a:spAutoFit/>
          </a:bodyPr>
          <a:lstStyle/>
          <a:p>
            <a:pPr lvl="0"/>
            <a:r>
              <a:rPr lang="es-PE" sz="2400" b="1" dirty="0" smtClean="0"/>
              <a:t>Comprobantes de Pago Electrónico</a:t>
            </a:r>
            <a:endParaRPr lang="es-PE" sz="2400" b="1" dirty="0"/>
          </a:p>
        </p:txBody>
      </p:sp>
      <p:sp>
        <p:nvSpPr>
          <p:cNvPr id="236" name="Rectangle 235">
            <a:extLst>
              <a:ext uri="{FF2B5EF4-FFF2-40B4-BE49-F238E27FC236}">
                <a16:creationId xmlns:a16="http://schemas.microsoft.com/office/drawing/2014/main" id="{3B97281A-4C7B-40C6-9455-4694D9A34E5A}"/>
              </a:ext>
            </a:extLst>
          </p:cNvPr>
          <p:cNvSpPr/>
          <p:nvPr/>
        </p:nvSpPr>
        <p:spPr>
          <a:xfrm>
            <a:off x="1512543" y="2847995"/>
            <a:ext cx="2239650" cy="461665"/>
          </a:xfrm>
          <a:prstGeom prst="rect">
            <a:avLst/>
          </a:prstGeom>
        </p:spPr>
        <p:txBody>
          <a:bodyPr wrap="square">
            <a:spAutoFit/>
          </a:bodyPr>
          <a:lstStyle/>
          <a:p>
            <a:pPr lvl="0"/>
            <a:r>
              <a:rPr lang="es-PE" sz="1200" b="1" dirty="0" smtClean="0"/>
              <a:t>Actualización de contacto electrónico</a:t>
            </a:r>
            <a:endParaRPr lang="es-PE" sz="1200" b="1" dirty="0"/>
          </a:p>
        </p:txBody>
      </p:sp>
      <p:sp>
        <p:nvSpPr>
          <p:cNvPr id="242" name="Rectangle 241">
            <a:extLst>
              <a:ext uri="{FF2B5EF4-FFF2-40B4-BE49-F238E27FC236}">
                <a16:creationId xmlns:a16="http://schemas.microsoft.com/office/drawing/2014/main" id="{585E19CB-31DB-4ABF-894A-09C79405DA56}"/>
              </a:ext>
            </a:extLst>
          </p:cNvPr>
          <p:cNvSpPr/>
          <p:nvPr/>
        </p:nvSpPr>
        <p:spPr>
          <a:xfrm>
            <a:off x="1437658" y="1752412"/>
            <a:ext cx="2513240" cy="461665"/>
          </a:xfrm>
          <a:prstGeom prst="rect">
            <a:avLst/>
          </a:prstGeom>
        </p:spPr>
        <p:txBody>
          <a:bodyPr wrap="square">
            <a:spAutoFit/>
          </a:bodyPr>
          <a:lstStyle/>
          <a:p>
            <a:pPr lvl="0"/>
            <a:r>
              <a:rPr lang="es-PE" sz="1200" b="1" dirty="0" smtClean="0"/>
              <a:t>Control de capacidad operativa de contribuyentes con riesgo de ONR.</a:t>
            </a:r>
            <a:endParaRPr lang="es-PE" sz="1200" b="1" dirty="0"/>
          </a:p>
        </p:txBody>
      </p:sp>
      <p:sp>
        <p:nvSpPr>
          <p:cNvPr id="284" name="Rectangle 283">
            <a:extLst>
              <a:ext uri="{FF2B5EF4-FFF2-40B4-BE49-F238E27FC236}">
                <a16:creationId xmlns:a16="http://schemas.microsoft.com/office/drawing/2014/main" id="{4DC731D1-B77A-4EF1-A2BF-7F5080EBA3C2}"/>
              </a:ext>
            </a:extLst>
          </p:cNvPr>
          <p:cNvSpPr/>
          <p:nvPr/>
        </p:nvSpPr>
        <p:spPr>
          <a:xfrm>
            <a:off x="1503359" y="3430384"/>
            <a:ext cx="1358976" cy="246221"/>
          </a:xfrm>
          <a:prstGeom prst="rect">
            <a:avLst/>
          </a:prstGeom>
        </p:spPr>
        <p:txBody>
          <a:bodyPr wrap="square">
            <a:spAutoFit/>
          </a:bodyPr>
          <a:lstStyle/>
          <a:p>
            <a:pPr algn="ctr"/>
            <a:endParaRPr lang="es-PE" sz="1000"/>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72" name="Rectangle 71">
            <a:extLst>
              <a:ext uri="{FF2B5EF4-FFF2-40B4-BE49-F238E27FC236}">
                <a16:creationId xmlns:a16="http://schemas.microsoft.com/office/drawing/2014/main" id="{D269D672-4980-4CF5-A8AF-853A48520BCB}"/>
              </a:ext>
            </a:extLst>
          </p:cNvPr>
          <p:cNvSpPr/>
          <p:nvPr/>
        </p:nvSpPr>
        <p:spPr>
          <a:xfrm>
            <a:off x="5400224" y="1943236"/>
            <a:ext cx="2756384" cy="276999"/>
          </a:xfrm>
          <a:prstGeom prst="rect">
            <a:avLst/>
          </a:prstGeom>
        </p:spPr>
        <p:txBody>
          <a:bodyPr wrap="square">
            <a:spAutoFit/>
          </a:bodyPr>
          <a:lstStyle/>
          <a:p>
            <a:pPr lvl="0"/>
            <a:r>
              <a:rPr lang="es-PE" sz="1200" b="1" dirty="0" smtClean="0"/>
              <a:t>Alertas de inconsistencias en el CPE</a:t>
            </a:r>
            <a:endParaRPr lang="es-PE" sz="1200" b="1" dirty="0">
              <a:latin typeface="Segoe UI" panose="020B0502040204020203" pitchFamily="34" charset="0"/>
              <a:cs typeface="Segoe UI" panose="020B0502040204020203" pitchFamily="34" charset="0"/>
            </a:endParaRPr>
          </a:p>
        </p:txBody>
      </p:sp>
      <p:sp>
        <p:nvSpPr>
          <p:cNvPr id="92" name="Rectangle 71">
            <a:extLst>
              <a:ext uri="{FF2B5EF4-FFF2-40B4-BE49-F238E27FC236}">
                <a16:creationId xmlns:a16="http://schemas.microsoft.com/office/drawing/2014/main" id="{D269D672-4980-4CF5-A8AF-853A48520BCB}"/>
              </a:ext>
            </a:extLst>
          </p:cNvPr>
          <p:cNvSpPr/>
          <p:nvPr/>
        </p:nvSpPr>
        <p:spPr>
          <a:xfrm>
            <a:off x="1627186" y="4859609"/>
            <a:ext cx="2323711" cy="438582"/>
          </a:xfrm>
          <a:prstGeom prst="rect">
            <a:avLst/>
          </a:prstGeom>
        </p:spPr>
        <p:txBody>
          <a:bodyPr wrap="square">
            <a:spAutoFit/>
          </a:bodyPr>
          <a:lstStyle/>
          <a:p>
            <a:pPr lvl="0"/>
            <a:r>
              <a:rPr lang="es-PE" sz="1050" b="1" dirty="0" smtClean="0"/>
              <a:t>Determinación de omisos a la DJ del IGV Renta </a:t>
            </a:r>
            <a:r>
              <a:rPr lang="es-PE" sz="1200" b="1" dirty="0" smtClean="0"/>
              <a:t>Mensual</a:t>
            </a:r>
            <a:endParaRPr lang="es-PE" sz="1200" b="1" dirty="0"/>
          </a:p>
        </p:txBody>
      </p:sp>
      <p:sp>
        <p:nvSpPr>
          <p:cNvPr id="94" name="Rounded Rectangle 105">
            <a:extLst>
              <a:ext uri="{FF2B5EF4-FFF2-40B4-BE49-F238E27FC236}">
                <a16:creationId xmlns:a16="http://schemas.microsoft.com/office/drawing/2014/main" id="{43C9DD48-3BF6-464E-9FB5-D931EC59ADDB}"/>
              </a:ext>
            </a:extLst>
          </p:cNvPr>
          <p:cNvSpPr/>
          <p:nvPr/>
        </p:nvSpPr>
        <p:spPr bwMode="auto">
          <a:xfrm>
            <a:off x="8412867" y="785697"/>
            <a:ext cx="3418492" cy="5824735"/>
          </a:xfrm>
          <a:prstGeom prst="roundRect">
            <a:avLst>
              <a:gd name="adj" fmla="val 0"/>
            </a:avLst>
          </a:prstGeom>
          <a:solidFill>
            <a:srgbClr val="00B8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1175">
              <a:solidFill>
                <a:schemeClr val="tx1"/>
              </a:solidFill>
              <a:latin typeface="+mj-lt"/>
              <a:ea typeface="Segoe UI" pitchFamily="34" charset="0"/>
              <a:cs typeface="Segoe UI" pitchFamily="34" charset="0"/>
            </a:endParaRPr>
          </a:p>
        </p:txBody>
      </p:sp>
      <p:sp>
        <p:nvSpPr>
          <p:cNvPr id="95" name="TextBox 227">
            <a:extLst>
              <a:ext uri="{FF2B5EF4-FFF2-40B4-BE49-F238E27FC236}">
                <a16:creationId xmlns:a16="http://schemas.microsoft.com/office/drawing/2014/main" id="{C792C210-BA77-4DF5-8AF9-B8462EEC602C}"/>
              </a:ext>
            </a:extLst>
          </p:cNvPr>
          <p:cNvSpPr txBox="1"/>
          <p:nvPr/>
        </p:nvSpPr>
        <p:spPr>
          <a:xfrm>
            <a:off x="8680136" y="898457"/>
            <a:ext cx="2939039" cy="369332"/>
          </a:xfrm>
          <a:prstGeom prst="rect">
            <a:avLst/>
          </a:prstGeom>
          <a:noFill/>
        </p:spPr>
        <p:txBody>
          <a:bodyPr wrap="square" lIns="0" tIns="0" rIns="0" bIns="0" rtlCol="0">
            <a:spAutoFit/>
          </a:bodyPr>
          <a:lstStyle/>
          <a:p>
            <a:pPr lvl="0"/>
            <a:r>
              <a:rPr lang="es-PE" sz="2400" b="1" dirty="0" smtClean="0"/>
              <a:t>Fiscalización del IGV</a:t>
            </a:r>
            <a:endParaRPr lang="es-PE" sz="2400" b="1" dirty="0"/>
          </a:p>
        </p:txBody>
      </p:sp>
      <p:sp>
        <p:nvSpPr>
          <p:cNvPr id="96" name="Rectangle 71">
            <a:extLst>
              <a:ext uri="{FF2B5EF4-FFF2-40B4-BE49-F238E27FC236}">
                <a16:creationId xmlns:a16="http://schemas.microsoft.com/office/drawing/2014/main" id="{D269D672-4980-4CF5-A8AF-853A48520BCB}"/>
              </a:ext>
            </a:extLst>
          </p:cNvPr>
          <p:cNvSpPr/>
          <p:nvPr/>
        </p:nvSpPr>
        <p:spPr>
          <a:xfrm>
            <a:off x="5356640" y="2756316"/>
            <a:ext cx="2612512" cy="276999"/>
          </a:xfrm>
          <a:prstGeom prst="rect">
            <a:avLst/>
          </a:prstGeom>
        </p:spPr>
        <p:txBody>
          <a:bodyPr wrap="square">
            <a:spAutoFit/>
          </a:bodyPr>
          <a:lstStyle/>
          <a:p>
            <a:pPr lvl="0"/>
            <a:r>
              <a:rPr lang="es-PE" sz="1200" b="1" dirty="0" smtClean="0"/>
              <a:t>Restricción a la Autorización de </a:t>
            </a:r>
            <a:r>
              <a:rPr lang="es-PE" sz="1200" b="1" dirty="0" err="1" smtClean="0"/>
              <a:t>CdP</a:t>
            </a:r>
            <a:endParaRPr lang="es-PE" sz="1200" b="1" dirty="0"/>
          </a:p>
        </p:txBody>
      </p:sp>
      <p:sp>
        <p:nvSpPr>
          <p:cNvPr id="97" name="Rectangle 71">
            <a:extLst>
              <a:ext uri="{FF2B5EF4-FFF2-40B4-BE49-F238E27FC236}">
                <a16:creationId xmlns:a16="http://schemas.microsoft.com/office/drawing/2014/main" id="{D269D672-4980-4CF5-A8AF-853A48520BCB}"/>
              </a:ext>
            </a:extLst>
          </p:cNvPr>
          <p:cNvSpPr/>
          <p:nvPr/>
        </p:nvSpPr>
        <p:spPr>
          <a:xfrm>
            <a:off x="5420226" y="3677530"/>
            <a:ext cx="2277404" cy="276999"/>
          </a:xfrm>
          <a:prstGeom prst="rect">
            <a:avLst/>
          </a:prstGeom>
        </p:spPr>
        <p:txBody>
          <a:bodyPr wrap="square">
            <a:spAutoFit/>
          </a:bodyPr>
          <a:lstStyle/>
          <a:p>
            <a:pPr lvl="0"/>
            <a:r>
              <a:rPr lang="es-PE" sz="1200" b="1" dirty="0" smtClean="0"/>
              <a:t>Limitación de </a:t>
            </a:r>
            <a:r>
              <a:rPr lang="es-PE" sz="1200" b="1" dirty="0" err="1" smtClean="0"/>
              <a:t>CdP</a:t>
            </a:r>
            <a:r>
              <a:rPr lang="es-PE" sz="1200" b="1" dirty="0" smtClean="0"/>
              <a:t> Autorizados</a:t>
            </a:r>
            <a:endParaRPr lang="es-PE" sz="1200" b="1" dirty="0"/>
          </a:p>
        </p:txBody>
      </p:sp>
      <p:sp>
        <p:nvSpPr>
          <p:cNvPr id="98" name="Rectangle 71">
            <a:extLst>
              <a:ext uri="{FF2B5EF4-FFF2-40B4-BE49-F238E27FC236}">
                <a16:creationId xmlns:a16="http://schemas.microsoft.com/office/drawing/2014/main" id="{D269D672-4980-4CF5-A8AF-853A48520BCB}"/>
              </a:ext>
            </a:extLst>
          </p:cNvPr>
          <p:cNvSpPr/>
          <p:nvPr/>
        </p:nvSpPr>
        <p:spPr>
          <a:xfrm>
            <a:off x="5400224" y="4632350"/>
            <a:ext cx="2776579" cy="276999"/>
          </a:xfrm>
          <a:prstGeom prst="rect">
            <a:avLst/>
          </a:prstGeom>
        </p:spPr>
        <p:txBody>
          <a:bodyPr wrap="square">
            <a:spAutoFit/>
          </a:bodyPr>
          <a:lstStyle/>
          <a:p>
            <a:pPr lvl="0"/>
            <a:r>
              <a:rPr lang="es-PE" sz="1200" b="1" dirty="0" smtClean="0"/>
              <a:t>Restricción a la Emisión de </a:t>
            </a:r>
            <a:r>
              <a:rPr lang="es-PE" sz="1200" b="1" dirty="0" err="1" smtClean="0"/>
              <a:t>CdP</a:t>
            </a:r>
            <a:r>
              <a:rPr lang="es-PE" sz="1200" b="1" dirty="0" smtClean="0"/>
              <a:t> y CPE</a:t>
            </a:r>
            <a:endParaRPr lang="es-PE" sz="1200" b="1" dirty="0"/>
          </a:p>
        </p:txBody>
      </p:sp>
      <p:sp>
        <p:nvSpPr>
          <p:cNvPr id="100" name="Rectangle 71">
            <a:extLst>
              <a:ext uri="{FF2B5EF4-FFF2-40B4-BE49-F238E27FC236}">
                <a16:creationId xmlns:a16="http://schemas.microsoft.com/office/drawing/2014/main" id="{D269D672-4980-4CF5-A8AF-853A48520BCB}"/>
              </a:ext>
            </a:extLst>
          </p:cNvPr>
          <p:cNvSpPr/>
          <p:nvPr/>
        </p:nvSpPr>
        <p:spPr>
          <a:xfrm>
            <a:off x="5383475" y="5621074"/>
            <a:ext cx="2666308" cy="276999"/>
          </a:xfrm>
          <a:prstGeom prst="rect">
            <a:avLst/>
          </a:prstGeom>
        </p:spPr>
        <p:txBody>
          <a:bodyPr wrap="square">
            <a:spAutoFit/>
          </a:bodyPr>
          <a:lstStyle/>
          <a:p>
            <a:pPr lvl="0"/>
            <a:r>
              <a:rPr lang="es-PE" sz="1200" b="1" dirty="0" smtClean="0"/>
              <a:t>Comprobante de contingencia al CPE</a:t>
            </a:r>
            <a:endParaRPr lang="es-PE" sz="1200" b="1" dirty="0"/>
          </a:p>
        </p:txBody>
      </p:sp>
      <p:sp>
        <p:nvSpPr>
          <p:cNvPr id="101" name="Rectangle 71">
            <a:extLst>
              <a:ext uri="{FF2B5EF4-FFF2-40B4-BE49-F238E27FC236}">
                <a16:creationId xmlns:a16="http://schemas.microsoft.com/office/drawing/2014/main" id="{D269D672-4980-4CF5-A8AF-853A48520BCB}"/>
              </a:ext>
            </a:extLst>
          </p:cNvPr>
          <p:cNvSpPr/>
          <p:nvPr/>
        </p:nvSpPr>
        <p:spPr>
          <a:xfrm>
            <a:off x="1627187" y="5559176"/>
            <a:ext cx="2323711" cy="830997"/>
          </a:xfrm>
          <a:prstGeom prst="rect">
            <a:avLst/>
          </a:prstGeom>
        </p:spPr>
        <p:txBody>
          <a:bodyPr wrap="square">
            <a:spAutoFit/>
          </a:bodyPr>
          <a:lstStyle/>
          <a:p>
            <a:pPr lvl="0"/>
            <a:r>
              <a:rPr lang="es-PE" sz="1200" b="1" dirty="0" smtClean="0"/>
              <a:t>Reporte de consistencia del crédito presentado en el RCE con el Declara Fácil IGV Renta Mensual</a:t>
            </a:r>
            <a:endParaRPr lang="es-PE" sz="1200" b="1" dirty="0"/>
          </a:p>
        </p:txBody>
      </p:sp>
      <p:sp>
        <p:nvSpPr>
          <p:cNvPr id="102" name="Rectangle 71">
            <a:extLst>
              <a:ext uri="{FF2B5EF4-FFF2-40B4-BE49-F238E27FC236}">
                <a16:creationId xmlns:a16="http://schemas.microsoft.com/office/drawing/2014/main" id="{D269D672-4980-4CF5-A8AF-853A48520BCB}"/>
              </a:ext>
            </a:extLst>
          </p:cNvPr>
          <p:cNvSpPr/>
          <p:nvPr/>
        </p:nvSpPr>
        <p:spPr>
          <a:xfrm>
            <a:off x="9494535" y="1848699"/>
            <a:ext cx="2336824" cy="461665"/>
          </a:xfrm>
          <a:prstGeom prst="rect">
            <a:avLst/>
          </a:prstGeom>
        </p:spPr>
        <p:txBody>
          <a:bodyPr wrap="square">
            <a:spAutoFit/>
          </a:bodyPr>
          <a:lstStyle/>
          <a:p>
            <a:pPr lvl="0"/>
            <a:r>
              <a:rPr lang="es-PE" sz="1200" b="1" dirty="0" smtClean="0">
                <a:solidFill>
                  <a:schemeClr val="bg1"/>
                </a:solidFill>
              </a:rPr>
              <a:t>Gestión Masiva de Inconsistencias del RCVE</a:t>
            </a:r>
            <a:endParaRPr lang="es-PE" sz="1200" b="1" dirty="0">
              <a:solidFill>
                <a:schemeClr val="bg1"/>
              </a:solidFill>
            </a:endParaRPr>
          </a:p>
        </p:txBody>
      </p:sp>
      <p:sp>
        <p:nvSpPr>
          <p:cNvPr id="103" name="Rectangle 71">
            <a:extLst>
              <a:ext uri="{FF2B5EF4-FFF2-40B4-BE49-F238E27FC236}">
                <a16:creationId xmlns:a16="http://schemas.microsoft.com/office/drawing/2014/main" id="{D269D672-4980-4CF5-A8AF-853A48520BCB}"/>
              </a:ext>
            </a:extLst>
          </p:cNvPr>
          <p:cNvSpPr/>
          <p:nvPr/>
        </p:nvSpPr>
        <p:spPr>
          <a:xfrm>
            <a:off x="9454170" y="2997874"/>
            <a:ext cx="2647745" cy="276999"/>
          </a:xfrm>
          <a:prstGeom prst="rect">
            <a:avLst/>
          </a:prstGeom>
        </p:spPr>
        <p:txBody>
          <a:bodyPr wrap="square">
            <a:spAutoFit/>
          </a:bodyPr>
          <a:lstStyle/>
          <a:p>
            <a:pPr lvl="0"/>
            <a:r>
              <a:rPr lang="es-PE" sz="1200" b="1" dirty="0" smtClean="0">
                <a:solidFill>
                  <a:schemeClr val="bg1"/>
                </a:solidFill>
              </a:rPr>
              <a:t>Gestión Selectiva de control del IGV</a:t>
            </a:r>
            <a:endParaRPr lang="es-PE" sz="1200" b="1" dirty="0">
              <a:solidFill>
                <a:schemeClr val="bg1"/>
              </a:solidFill>
            </a:endParaRPr>
          </a:p>
        </p:txBody>
      </p:sp>
      <p:sp>
        <p:nvSpPr>
          <p:cNvPr id="104" name="Rectangle 71">
            <a:extLst>
              <a:ext uri="{FF2B5EF4-FFF2-40B4-BE49-F238E27FC236}">
                <a16:creationId xmlns:a16="http://schemas.microsoft.com/office/drawing/2014/main" id="{D269D672-4980-4CF5-A8AF-853A48520BCB}"/>
              </a:ext>
            </a:extLst>
          </p:cNvPr>
          <p:cNvSpPr/>
          <p:nvPr/>
        </p:nvSpPr>
        <p:spPr>
          <a:xfrm>
            <a:off x="9510061" y="4023994"/>
            <a:ext cx="2585405" cy="461665"/>
          </a:xfrm>
          <a:prstGeom prst="rect">
            <a:avLst/>
          </a:prstGeom>
        </p:spPr>
        <p:txBody>
          <a:bodyPr wrap="square">
            <a:spAutoFit/>
          </a:bodyPr>
          <a:lstStyle/>
          <a:p>
            <a:pPr lvl="0"/>
            <a:r>
              <a:rPr lang="es-PE" sz="1200" b="1" dirty="0" smtClean="0">
                <a:solidFill>
                  <a:schemeClr val="bg1"/>
                </a:solidFill>
              </a:rPr>
              <a:t>Fiscalización Parcial Electrónica del IGV</a:t>
            </a:r>
            <a:endParaRPr lang="es-PE" sz="1200" b="1" dirty="0">
              <a:solidFill>
                <a:schemeClr val="bg1"/>
              </a:solidFill>
            </a:endParaRPr>
          </a:p>
        </p:txBody>
      </p:sp>
      <p:sp>
        <p:nvSpPr>
          <p:cNvPr id="56324" name="AutoShape 4"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sp>
        <p:nvSpPr>
          <p:cNvPr id="56326" name="AutoShape 6"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sp>
        <p:nvSpPr>
          <p:cNvPr id="56328" name="AutoShape 8"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pic>
        <p:nvPicPr>
          <p:cNvPr id="56334" name="Picture 14" descr="Resultado de imagen para alertas sin fondo"/>
          <p:cNvPicPr>
            <a:picLocks noChangeAspect="1" noChangeArrowheads="1"/>
          </p:cNvPicPr>
          <p:nvPr/>
        </p:nvPicPr>
        <p:blipFill>
          <a:blip r:embed="rId3" cstate="print"/>
          <a:srcRect/>
          <a:stretch>
            <a:fillRect/>
          </a:stretch>
        </p:blipFill>
        <p:spPr bwMode="auto">
          <a:xfrm>
            <a:off x="4428875" y="1693611"/>
            <a:ext cx="750497" cy="595223"/>
          </a:xfrm>
          <a:prstGeom prst="rect">
            <a:avLst/>
          </a:prstGeom>
          <a:noFill/>
        </p:spPr>
      </p:pic>
      <p:pic>
        <p:nvPicPr>
          <p:cNvPr id="2050" name="Picture 2" descr="Resultado de imagen para stop sin fondo"/>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4499030" y="2521532"/>
            <a:ext cx="674718" cy="67471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esultado de imagen para alto sin fondo"/>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4499030" y="3510339"/>
            <a:ext cx="662658" cy="66265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sultado de imagen para restringi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8999" y="4298951"/>
            <a:ext cx="892018" cy="892018"/>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10" descr="Resultado de imagen para documento contingenci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pic>
        <p:nvPicPr>
          <p:cNvPr id="2060" name="Picture 12" descr="Resultado de imagen para documento contingenci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31888" y="5390475"/>
            <a:ext cx="947704" cy="947704"/>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sultado de imagen para email"/>
          <p:cNvPicPr>
            <a:picLocks noChangeAspect="1" noChangeArrowheads="1"/>
          </p:cNvPicPr>
          <p:nvPr/>
        </p:nvPicPr>
        <p:blipFill rotWithShape="1">
          <a:blip r:embed="rId8">
            <a:extLst>
              <a:ext uri="{28A0092B-C50C-407E-A947-70E740481C1C}">
                <a14:useLocalDpi xmlns:a14="http://schemas.microsoft.com/office/drawing/2010/main" val="0"/>
              </a:ext>
            </a:extLst>
          </a:blip>
          <a:srcRect l="12020" t="13501" r="13137" b="15915"/>
          <a:stretch/>
        </p:blipFill>
        <p:spPr bwMode="auto">
          <a:xfrm>
            <a:off x="407022" y="2513980"/>
            <a:ext cx="966182" cy="911196"/>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Resultado de imagen para riesgo"/>
          <p:cNvPicPr>
            <a:picLocks noChangeAspect="1" noChangeArrowheads="1"/>
          </p:cNvPicPr>
          <p:nvPr/>
        </p:nvPicPr>
        <p:blipFill rotWithShape="1">
          <a:blip r:embed="rId9">
            <a:extLst>
              <a:ext uri="{28A0092B-C50C-407E-A947-70E740481C1C}">
                <a14:useLocalDpi xmlns:a14="http://schemas.microsoft.com/office/drawing/2010/main" val="0"/>
              </a:ext>
            </a:extLst>
          </a:blip>
          <a:srcRect l="7061" t="8101" b="10665"/>
          <a:stretch/>
        </p:blipFill>
        <p:spPr bwMode="auto">
          <a:xfrm>
            <a:off x="395839" y="1616700"/>
            <a:ext cx="973692" cy="764573"/>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Imagen relacionada"/>
          <p:cNvPicPr>
            <a:picLocks noChangeAspect="1" noChangeArrowheads="1"/>
          </p:cNvPicPr>
          <p:nvPr/>
        </p:nvPicPr>
        <p:blipFill rotWithShape="1">
          <a:blip r:embed="rId10" cstate="hqprint">
            <a:extLst>
              <a:ext uri="{28A0092B-C50C-407E-A947-70E740481C1C}">
                <a14:useLocalDpi xmlns:a14="http://schemas.microsoft.com/office/drawing/2010/main" val="0"/>
              </a:ext>
            </a:extLst>
          </a:blip>
          <a:srcRect l="13178" t="10703" r="8363" b="11393"/>
          <a:stretch/>
        </p:blipFill>
        <p:spPr bwMode="auto">
          <a:xfrm>
            <a:off x="584076" y="4715780"/>
            <a:ext cx="847132" cy="736546"/>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Resultado de imagen para reporte consistencia"/>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0695" y="5605647"/>
            <a:ext cx="1265562" cy="761217"/>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Resultado de imagen para GestiÃ³n Masiva"/>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34182" y="1604380"/>
            <a:ext cx="845831" cy="845831"/>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Resultado de imagen para GestiÃ³n selectiva"/>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672802" y="2697164"/>
            <a:ext cx="791402" cy="791402"/>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Resultado de imagen para fiscalizaciÃ³n"/>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8663336" y="3788072"/>
            <a:ext cx="897668" cy="892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9426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Alcance del proyecto</a:t>
            </a:r>
          </a:p>
        </p:txBody>
      </p:sp>
      <p:sp>
        <p:nvSpPr>
          <p:cNvPr id="262" name="Rectangle 261">
            <a:extLst>
              <a:ext uri="{FF2B5EF4-FFF2-40B4-BE49-F238E27FC236}">
                <a16:creationId xmlns:a16="http://schemas.microsoft.com/office/drawing/2014/main" id="{1E8D90FC-33F7-46F4-BA0A-E8D2F51EDDB1}"/>
              </a:ext>
            </a:extLst>
          </p:cNvPr>
          <p:cNvSpPr/>
          <p:nvPr/>
        </p:nvSpPr>
        <p:spPr>
          <a:xfrm>
            <a:off x="1307461" y="6467910"/>
            <a:ext cx="9266196" cy="301727"/>
          </a:xfrm>
          <a:prstGeom prst="rect">
            <a:avLst/>
          </a:prstGeom>
        </p:spPr>
        <p:txBody>
          <a:bodyPr wrap="square">
            <a:spAutoFit/>
          </a:bodyPr>
          <a:lstStyle/>
          <a:p>
            <a:r>
              <a:rPr lang="es-PE" sz="1372">
                <a:solidFill>
                  <a:schemeClr val="bg1"/>
                </a:solidFill>
                <a:ea typeface="Calibri" panose="020F0502020204030204" pitchFamily="34" charset="0"/>
                <a:cs typeface="Times New Roman" panose="02020603050405020304" pitchFamily="18" charset="0"/>
              </a:rPr>
              <a:t>Processo ágil de desarollo y operación</a:t>
            </a:r>
            <a:endParaRPr lang="es-PE" sz="1372">
              <a:solidFill>
                <a:schemeClr val="bg1"/>
              </a:solidFill>
            </a:endParaRPr>
          </a:p>
        </p:txBody>
      </p:sp>
      <p:sp>
        <p:nvSpPr>
          <p:cNvPr id="268" name="TextBox 267">
            <a:extLst>
              <a:ext uri="{FF2B5EF4-FFF2-40B4-BE49-F238E27FC236}">
                <a16:creationId xmlns:a16="http://schemas.microsoft.com/office/drawing/2014/main" id="{0C188B6D-3144-4200-8BB2-10CF8F4CB31B}"/>
              </a:ext>
            </a:extLst>
          </p:cNvPr>
          <p:cNvSpPr txBox="1"/>
          <p:nvPr/>
        </p:nvSpPr>
        <p:spPr>
          <a:xfrm>
            <a:off x="3517558" y="5562510"/>
            <a:ext cx="2444469" cy="503915"/>
          </a:xfrm>
          <a:prstGeom prst="rect">
            <a:avLst/>
          </a:prstGeom>
          <a:noFill/>
          <a:ln w="19050">
            <a:solidFill>
              <a:schemeClr val="accent3">
                <a:lumMod val="20000"/>
                <a:lumOff val="80000"/>
              </a:schemeClr>
            </a:solidFill>
            <a:prstDash val="solid"/>
          </a:ln>
        </p:spPr>
        <p:txBody>
          <a:bodyPr wrap="square" lIns="105877" tIns="105877" rIns="70585" bIns="70585" rtlCol="0">
            <a:spAutoFit/>
          </a:bodyPr>
          <a:lstStyle>
            <a:defPPr>
              <a:defRPr lang="en-US"/>
            </a:defPPr>
            <a:lvl1pPr defTabSz="932597">
              <a:lnSpc>
                <a:spcPct val="90000"/>
              </a:lnSpc>
              <a:defRPr sz="1200">
                <a:gradFill>
                  <a:gsLst>
                    <a:gs pos="0">
                      <a:srgbClr val="FFFFFF"/>
                    </a:gs>
                    <a:gs pos="100000">
                      <a:srgbClr val="FFFFFF"/>
                    </a:gs>
                  </a:gsLst>
                  <a:lin ang="5400000" scaled="0"/>
                </a:gradFill>
                <a:ea typeface="Segoe UI" pitchFamily="34" charset="0"/>
                <a:cs typeface="Segoe UI" pitchFamily="34" charset="0"/>
              </a:defRPr>
            </a:lvl1pPr>
          </a:lstStyle>
          <a:p>
            <a:pPr lvl="0"/>
            <a:r>
              <a:rPr lang="es-PE" sz="1176">
                <a:solidFill>
                  <a:schemeClr val="bg1"/>
                </a:solidFill>
                <a:latin typeface="+mj-lt"/>
              </a:rPr>
              <a:t>            Construir – Probar </a:t>
            </a:r>
            <a:r>
              <a:rPr lang="es-PE" sz="1176">
                <a:solidFill>
                  <a:schemeClr val="bg1"/>
                </a:solidFill>
              </a:rPr>
              <a:t>–</a:t>
            </a:r>
            <a:r>
              <a:rPr lang="es-PE" sz="1176">
                <a:solidFill>
                  <a:schemeClr val="bg1"/>
                </a:solidFill>
                <a:latin typeface="+mj-lt"/>
              </a:rPr>
              <a:t> Desplegar</a:t>
            </a:r>
          </a:p>
          <a:p>
            <a:pPr lvl="0"/>
            <a:r>
              <a:rPr lang="es-PE" sz="1176">
                <a:solidFill>
                  <a:schemeClr val="bg1"/>
                </a:solidFill>
                <a:latin typeface="+mj-lt"/>
              </a:rPr>
              <a:t>            Iteraciones ágiles</a:t>
            </a:r>
          </a:p>
        </p:txBody>
      </p:sp>
      <p:sp>
        <p:nvSpPr>
          <p:cNvPr id="269" name="Freeform 122">
            <a:extLst>
              <a:ext uri="{FF2B5EF4-FFF2-40B4-BE49-F238E27FC236}">
                <a16:creationId xmlns:a16="http://schemas.microsoft.com/office/drawing/2014/main" id="{861670A0-08CB-4798-9E20-D78EFC082B4C}"/>
              </a:ext>
            </a:extLst>
          </p:cNvPr>
          <p:cNvSpPr>
            <a:spLocks noChangeAspect="1"/>
          </p:cNvSpPr>
          <p:nvPr/>
        </p:nvSpPr>
        <p:spPr bwMode="black">
          <a:xfrm rot="4684838">
            <a:off x="3593626" y="5635806"/>
            <a:ext cx="345788" cy="348769"/>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126847" tIns="63423" rIns="126847" bIns="63423" numCol="1" anchor="t" anchorCtr="0" compatLnSpc="1">
            <a:prstTxWarp prst="textNoShape">
              <a:avLst/>
            </a:prstTxWarp>
          </a:bodyPr>
          <a:lstStyle/>
          <a:p>
            <a:endParaRPr lang="es-PE" sz="2448">
              <a:solidFill>
                <a:schemeClr val="bg1"/>
              </a:solidFill>
              <a:latin typeface="+mj-lt"/>
            </a:endParaRPr>
          </a:p>
        </p:txBody>
      </p:sp>
      <p:sp>
        <p:nvSpPr>
          <p:cNvPr id="270" name="Arrow: Pentagon 269">
            <a:extLst>
              <a:ext uri="{FF2B5EF4-FFF2-40B4-BE49-F238E27FC236}">
                <a16:creationId xmlns:a16="http://schemas.microsoft.com/office/drawing/2014/main" id="{7E546DE9-18D5-4E4D-B6D0-BA6EF67F8D0F}"/>
              </a:ext>
            </a:extLst>
          </p:cNvPr>
          <p:cNvSpPr/>
          <p:nvPr/>
        </p:nvSpPr>
        <p:spPr>
          <a:xfrm>
            <a:off x="2204731" y="5605009"/>
            <a:ext cx="1168887" cy="341050"/>
          </a:xfrm>
          <a:prstGeom prst="homePlate">
            <a:avLst/>
          </a:prstGeom>
          <a:noFill/>
          <a:ln w="19050">
            <a:solidFill>
              <a:schemeClr val="accent3">
                <a:lumMod val="20000"/>
                <a:lumOff val="80000"/>
              </a:schemeClr>
            </a:solidFill>
            <a:prstDash val="solid"/>
          </a:ln>
        </p:spPr>
        <p:txBody>
          <a:bodyPr wrap="square" lIns="105877" tIns="105877" rIns="70585" bIns="70585" rtlCol="0">
            <a:spAutoFit/>
          </a:bodyPr>
          <a:lstStyle/>
          <a:p>
            <a:pPr defTabSz="932597">
              <a:lnSpc>
                <a:spcPct val="90000"/>
              </a:lnSpc>
            </a:pPr>
            <a:r>
              <a:rPr lang="es-PE" sz="1176">
                <a:solidFill>
                  <a:schemeClr val="bg1"/>
                </a:solidFill>
                <a:latin typeface="+mj-lt"/>
                <a:cs typeface="Segoe UI" pitchFamily="34" charset="0"/>
              </a:rPr>
              <a:t>Diseñar</a:t>
            </a:r>
          </a:p>
        </p:txBody>
      </p:sp>
      <p:sp>
        <p:nvSpPr>
          <p:cNvPr id="271" name="Arrow: Pentagon 270">
            <a:extLst>
              <a:ext uri="{FF2B5EF4-FFF2-40B4-BE49-F238E27FC236}">
                <a16:creationId xmlns:a16="http://schemas.microsoft.com/office/drawing/2014/main" id="{4FE1F036-CEBC-46DF-9ED7-BF0BE0906A24}"/>
              </a:ext>
            </a:extLst>
          </p:cNvPr>
          <p:cNvSpPr/>
          <p:nvPr/>
        </p:nvSpPr>
        <p:spPr>
          <a:xfrm>
            <a:off x="6174957" y="5605009"/>
            <a:ext cx="1181701" cy="341050"/>
          </a:xfrm>
          <a:prstGeom prst="homePlate">
            <a:avLst/>
          </a:prstGeom>
          <a:noFill/>
          <a:ln w="19050">
            <a:solidFill>
              <a:schemeClr val="accent3">
                <a:lumMod val="20000"/>
                <a:lumOff val="80000"/>
              </a:schemeClr>
            </a:solidFill>
            <a:prstDash val="solid"/>
          </a:ln>
        </p:spPr>
        <p:txBody>
          <a:bodyPr rot="0" spcFirstLastPara="0" vertOverflow="overflow" horzOverflow="overflow" vert="horz" wrap="square" lIns="105877" tIns="105877" rIns="70585" bIns="70585" numCol="1" spcCol="0" rtlCol="0" fromWordArt="0" anchor="t" anchorCtr="0" forceAA="0" compatLnSpc="1">
            <a:prstTxWarp prst="textNoShape">
              <a:avLst/>
            </a:prstTxWarp>
            <a:spAutoFit/>
          </a:bodyPr>
          <a:lstStyle/>
          <a:p>
            <a:pPr defTabSz="932597">
              <a:lnSpc>
                <a:spcPct val="90000"/>
              </a:lnSpc>
            </a:pPr>
            <a:r>
              <a:rPr lang="es-PE" sz="1176">
                <a:solidFill>
                  <a:schemeClr val="bg1"/>
                </a:solidFill>
                <a:latin typeface="+mj-lt"/>
                <a:cs typeface="Segoe UI" pitchFamily="34" charset="0"/>
              </a:rPr>
              <a:t>Validar</a:t>
            </a:r>
          </a:p>
        </p:txBody>
      </p:sp>
      <p:sp>
        <p:nvSpPr>
          <p:cNvPr id="272" name="Arrow: Pentagon 271">
            <a:extLst>
              <a:ext uri="{FF2B5EF4-FFF2-40B4-BE49-F238E27FC236}">
                <a16:creationId xmlns:a16="http://schemas.microsoft.com/office/drawing/2014/main" id="{804C18D2-B704-4962-8E50-F9B846BDC9DA}"/>
              </a:ext>
            </a:extLst>
          </p:cNvPr>
          <p:cNvSpPr/>
          <p:nvPr/>
        </p:nvSpPr>
        <p:spPr>
          <a:xfrm>
            <a:off x="7436899" y="5609149"/>
            <a:ext cx="1181701" cy="341050"/>
          </a:xfrm>
          <a:prstGeom prst="homePlate">
            <a:avLst/>
          </a:prstGeom>
          <a:noFill/>
          <a:ln w="19050">
            <a:solidFill>
              <a:schemeClr val="accent3">
                <a:lumMod val="20000"/>
                <a:lumOff val="80000"/>
              </a:schemeClr>
            </a:solidFill>
            <a:prstDash val="solid"/>
          </a:ln>
        </p:spPr>
        <p:txBody>
          <a:bodyPr rot="0" spcFirstLastPara="0" vertOverflow="overflow" horzOverflow="overflow" vert="horz" wrap="square" lIns="105877" tIns="105877" rIns="70585" bIns="70585" numCol="1" spcCol="0" rtlCol="0" fromWordArt="0" anchor="t" anchorCtr="0" forceAA="0" compatLnSpc="1">
            <a:prstTxWarp prst="textNoShape">
              <a:avLst/>
            </a:prstTxWarp>
            <a:spAutoFit/>
          </a:bodyPr>
          <a:lstStyle/>
          <a:p>
            <a:pPr defTabSz="932597">
              <a:lnSpc>
                <a:spcPct val="90000"/>
              </a:lnSpc>
            </a:pPr>
            <a:r>
              <a:rPr lang="es-PE" sz="1176">
                <a:solidFill>
                  <a:schemeClr val="bg1"/>
                </a:solidFill>
                <a:latin typeface="+mj-lt"/>
                <a:cs typeface="Segoe UI" pitchFamily="34" charset="0"/>
              </a:rPr>
              <a:t>Puesta a Prod.</a:t>
            </a:r>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45" name="5 Marcador de contenido"/>
          <p:cNvGraphicFramePr>
            <a:graphicFrameLocks/>
          </p:cNvGraphicFramePr>
          <p:nvPr/>
        </p:nvGraphicFramePr>
        <p:xfrm>
          <a:off x="893134" y="0"/>
          <a:ext cx="10440988"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61942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Roles y estructura</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7" name="Marcador de contenido 3">
            <a:extLst>
              <a:ext uri="{FF2B5EF4-FFF2-40B4-BE49-F238E27FC236}">
                <a16:creationId xmlns:a16="http://schemas.microsoft.com/office/drawing/2014/main" id="{004D7C0D-6A04-47D9-97F1-6A1628B90AA3}"/>
              </a:ext>
            </a:extLst>
          </p:cNvPr>
          <p:cNvGraphicFramePr>
            <a:graphicFrameLocks/>
          </p:cNvGraphicFramePr>
          <p:nvPr>
            <p:extLst>
              <p:ext uri="{D42A27DB-BD31-4B8C-83A1-F6EECF244321}">
                <p14:modId xmlns:p14="http://schemas.microsoft.com/office/powerpoint/2010/main" val="1270871847"/>
              </p:ext>
            </p:extLst>
          </p:nvPr>
        </p:nvGraphicFramePr>
        <p:xfrm>
          <a:off x="1157376" y="1256281"/>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uadroTexto 4">
            <a:extLst>
              <a:ext uri="{FF2B5EF4-FFF2-40B4-BE49-F238E27FC236}">
                <a16:creationId xmlns:a16="http://schemas.microsoft.com/office/drawing/2014/main" id="{5B974F10-C61D-4D48-8C6C-7BA898DABD3C}"/>
              </a:ext>
            </a:extLst>
          </p:cNvPr>
          <p:cNvSpPr txBox="1"/>
          <p:nvPr/>
        </p:nvSpPr>
        <p:spPr>
          <a:xfrm>
            <a:off x="457389" y="1546652"/>
            <a:ext cx="461665" cy="741357"/>
          </a:xfrm>
          <a:prstGeom prst="rect">
            <a:avLst/>
          </a:prstGeom>
          <a:noFill/>
        </p:spPr>
        <p:txBody>
          <a:bodyPr vert="vert270" wrap="none" rtlCol="0">
            <a:spAutoFit/>
          </a:bodyPr>
          <a:lstStyle/>
          <a:p>
            <a:r>
              <a:rPr lang="es-PE" dirty="0"/>
              <a:t>Equipo</a:t>
            </a:r>
          </a:p>
        </p:txBody>
      </p:sp>
      <p:sp>
        <p:nvSpPr>
          <p:cNvPr id="9" name="CuadroTexto 5">
            <a:extLst>
              <a:ext uri="{FF2B5EF4-FFF2-40B4-BE49-F238E27FC236}">
                <a16:creationId xmlns:a16="http://schemas.microsoft.com/office/drawing/2014/main" id="{2B66DAE1-038B-4EBE-BA64-63CE2B41AD56}"/>
              </a:ext>
            </a:extLst>
          </p:cNvPr>
          <p:cNvSpPr txBox="1"/>
          <p:nvPr/>
        </p:nvSpPr>
        <p:spPr>
          <a:xfrm>
            <a:off x="457389" y="2740886"/>
            <a:ext cx="461665" cy="1325563"/>
          </a:xfrm>
          <a:prstGeom prst="rect">
            <a:avLst/>
          </a:prstGeom>
          <a:noFill/>
        </p:spPr>
        <p:txBody>
          <a:bodyPr vert="vert270" wrap="square" rtlCol="0">
            <a:spAutoFit/>
          </a:bodyPr>
          <a:lstStyle/>
          <a:p>
            <a:r>
              <a:rPr lang="es-PE" dirty="0"/>
              <a:t>Entregables</a:t>
            </a:r>
          </a:p>
        </p:txBody>
      </p:sp>
      <p:sp>
        <p:nvSpPr>
          <p:cNvPr id="10" name="CuadroTexto 7">
            <a:extLst>
              <a:ext uri="{FF2B5EF4-FFF2-40B4-BE49-F238E27FC236}">
                <a16:creationId xmlns:a16="http://schemas.microsoft.com/office/drawing/2014/main" id="{EE680755-10B8-40D7-B59D-FB0513705F94}"/>
              </a:ext>
            </a:extLst>
          </p:cNvPr>
          <p:cNvSpPr txBox="1"/>
          <p:nvPr/>
        </p:nvSpPr>
        <p:spPr>
          <a:xfrm>
            <a:off x="457388" y="4282056"/>
            <a:ext cx="461665" cy="1325563"/>
          </a:xfrm>
          <a:prstGeom prst="rect">
            <a:avLst/>
          </a:prstGeom>
          <a:noFill/>
        </p:spPr>
        <p:txBody>
          <a:bodyPr vert="vert270" wrap="square" rtlCol="0">
            <a:spAutoFit/>
          </a:bodyPr>
          <a:lstStyle/>
          <a:p>
            <a:r>
              <a:rPr lang="es-PE" dirty="0"/>
              <a:t>Normativo</a:t>
            </a:r>
          </a:p>
        </p:txBody>
      </p:sp>
    </p:spTree>
    <p:extLst>
      <p:ext uri="{BB962C8B-B14F-4D97-AF65-F5344CB8AC3E}">
        <p14:creationId xmlns:p14="http://schemas.microsoft.com/office/powerpoint/2010/main" val="2149858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Roles y estructura</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4" name="Marcador de contenido 3">
            <a:extLst>
              <a:ext uri="{FF2B5EF4-FFF2-40B4-BE49-F238E27FC236}">
                <a16:creationId xmlns:a16="http://schemas.microsoft.com/office/drawing/2014/main" id="{004D7C0D-6A04-47D9-97F1-6A1628B90AA3}"/>
              </a:ext>
            </a:extLst>
          </p:cNvPr>
          <p:cNvGraphicFramePr>
            <a:graphicFrameLocks/>
          </p:cNvGraphicFramePr>
          <p:nvPr>
            <p:extLst>
              <p:ext uri="{D42A27DB-BD31-4B8C-83A1-F6EECF244321}">
                <p14:modId xmlns:p14="http://schemas.microsoft.com/office/powerpoint/2010/main" val="4006262650"/>
              </p:ext>
            </p:extLst>
          </p:nvPr>
        </p:nvGraphicFramePr>
        <p:xfrm>
          <a:off x="1235016" y="1256282"/>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uadroTexto 4">
            <a:extLst>
              <a:ext uri="{FF2B5EF4-FFF2-40B4-BE49-F238E27FC236}">
                <a16:creationId xmlns:a16="http://schemas.microsoft.com/office/drawing/2014/main" id="{14A61FC7-85EB-4FB2-B0E1-029163E8AA6F}"/>
              </a:ext>
            </a:extLst>
          </p:cNvPr>
          <p:cNvSpPr txBox="1"/>
          <p:nvPr/>
        </p:nvSpPr>
        <p:spPr>
          <a:xfrm>
            <a:off x="535029" y="1546653"/>
            <a:ext cx="461665" cy="741357"/>
          </a:xfrm>
          <a:prstGeom prst="rect">
            <a:avLst/>
          </a:prstGeom>
          <a:noFill/>
        </p:spPr>
        <p:txBody>
          <a:bodyPr vert="vert270" wrap="none" rtlCol="0">
            <a:spAutoFit/>
          </a:bodyPr>
          <a:lstStyle/>
          <a:p>
            <a:r>
              <a:rPr lang="es-PE" dirty="0"/>
              <a:t>Equipo</a:t>
            </a:r>
          </a:p>
        </p:txBody>
      </p:sp>
      <p:sp>
        <p:nvSpPr>
          <p:cNvPr id="8" name="CuadroTexto 5">
            <a:extLst>
              <a:ext uri="{FF2B5EF4-FFF2-40B4-BE49-F238E27FC236}">
                <a16:creationId xmlns:a16="http://schemas.microsoft.com/office/drawing/2014/main" id="{549C586A-702D-46D6-8D2D-B54A383E7418}"/>
              </a:ext>
            </a:extLst>
          </p:cNvPr>
          <p:cNvSpPr txBox="1"/>
          <p:nvPr/>
        </p:nvSpPr>
        <p:spPr>
          <a:xfrm>
            <a:off x="535029" y="2740887"/>
            <a:ext cx="461665" cy="1325563"/>
          </a:xfrm>
          <a:prstGeom prst="rect">
            <a:avLst/>
          </a:prstGeom>
          <a:noFill/>
        </p:spPr>
        <p:txBody>
          <a:bodyPr vert="vert270" wrap="square" rtlCol="0">
            <a:spAutoFit/>
          </a:bodyPr>
          <a:lstStyle/>
          <a:p>
            <a:r>
              <a:rPr lang="es-PE" dirty="0"/>
              <a:t>Entregables</a:t>
            </a:r>
          </a:p>
        </p:txBody>
      </p:sp>
      <p:sp>
        <p:nvSpPr>
          <p:cNvPr id="9" name="CuadroTexto 6">
            <a:extLst>
              <a:ext uri="{FF2B5EF4-FFF2-40B4-BE49-F238E27FC236}">
                <a16:creationId xmlns:a16="http://schemas.microsoft.com/office/drawing/2014/main" id="{32640AD1-3CD3-4F4A-838E-C0F9183E9E6F}"/>
              </a:ext>
            </a:extLst>
          </p:cNvPr>
          <p:cNvSpPr txBox="1"/>
          <p:nvPr/>
        </p:nvSpPr>
        <p:spPr>
          <a:xfrm>
            <a:off x="535028" y="4282057"/>
            <a:ext cx="461665" cy="1325563"/>
          </a:xfrm>
          <a:prstGeom prst="rect">
            <a:avLst/>
          </a:prstGeom>
          <a:noFill/>
        </p:spPr>
        <p:txBody>
          <a:bodyPr vert="vert270" wrap="square" rtlCol="0">
            <a:spAutoFit/>
          </a:bodyPr>
          <a:lstStyle/>
          <a:p>
            <a:r>
              <a:rPr lang="es-PE" dirty="0"/>
              <a:t>Normativo</a:t>
            </a:r>
          </a:p>
        </p:txBody>
      </p:sp>
    </p:spTree>
    <p:extLst>
      <p:ext uri="{BB962C8B-B14F-4D97-AF65-F5344CB8AC3E}">
        <p14:creationId xmlns:p14="http://schemas.microsoft.com/office/powerpoint/2010/main" val="2149858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smtClean="0">
                <a:solidFill>
                  <a:srgbClr val="00B0F0"/>
                </a:solidFill>
                <a:latin typeface="Roboto Light"/>
                <a:ea typeface="Roboto Light"/>
                <a:cs typeface="Roboto Light"/>
                <a:sym typeface="Roboto Light"/>
              </a:rPr>
              <a:t>Plan de Comunicaciones</a:t>
            </a:r>
            <a:endParaRPr lang="es-PE" sz="3200" dirty="0">
              <a:solidFill>
                <a:srgbClr val="00B0F0"/>
              </a:solidFill>
              <a:latin typeface="Roboto Light"/>
              <a:ea typeface="Roboto Light"/>
              <a:cs typeface="Roboto Light"/>
              <a:sym typeface="Roboto Light"/>
            </a:endParaRP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8" name="Marcador de contenido 3">
            <a:extLst>
              <a:ext uri="{FF2B5EF4-FFF2-40B4-BE49-F238E27FC236}">
                <a16:creationId xmlns:a16="http://schemas.microsoft.com/office/drawing/2014/main" id="{B3EB8A56-0892-486E-8C72-BDBB6BD1FD27}"/>
              </a:ext>
            </a:extLst>
          </p:cNvPr>
          <p:cNvGraphicFramePr>
            <a:graphicFrameLocks/>
          </p:cNvGraphicFramePr>
          <p:nvPr>
            <p:extLst>
              <p:ext uri="{D42A27DB-BD31-4B8C-83A1-F6EECF244321}">
                <p14:modId xmlns:p14="http://schemas.microsoft.com/office/powerpoint/2010/main" val="473230957"/>
              </p:ext>
            </p:extLst>
          </p:nvPr>
        </p:nvGraphicFramePr>
        <p:xfrm>
          <a:off x="336331" y="846505"/>
          <a:ext cx="11456275" cy="5921196"/>
        </p:xfrm>
        <a:graphic>
          <a:graphicData uri="http://schemas.openxmlformats.org/drawingml/2006/table">
            <a:tbl>
              <a:tblPr firstRow="1" bandRow="1">
                <a:tableStyleId>{5C22544A-7EE6-4342-B048-85BDC9FD1C3A}</a:tableStyleId>
              </a:tblPr>
              <a:tblGrid>
                <a:gridCol w="1849821">
                  <a:extLst>
                    <a:ext uri="{9D8B030D-6E8A-4147-A177-3AD203B41FA5}">
                      <a16:colId xmlns:a16="http://schemas.microsoft.com/office/drawing/2014/main" val="1394251001"/>
                    </a:ext>
                  </a:extLst>
                </a:gridCol>
                <a:gridCol w="3901230">
                  <a:extLst>
                    <a:ext uri="{9D8B030D-6E8A-4147-A177-3AD203B41FA5}">
                      <a16:colId xmlns:a16="http://schemas.microsoft.com/office/drawing/2014/main" val="3491603291"/>
                    </a:ext>
                  </a:extLst>
                </a:gridCol>
                <a:gridCol w="2096498">
                  <a:extLst>
                    <a:ext uri="{9D8B030D-6E8A-4147-A177-3AD203B41FA5}">
                      <a16:colId xmlns:a16="http://schemas.microsoft.com/office/drawing/2014/main" val="816205967"/>
                    </a:ext>
                  </a:extLst>
                </a:gridCol>
                <a:gridCol w="1053977">
                  <a:extLst>
                    <a:ext uri="{9D8B030D-6E8A-4147-A177-3AD203B41FA5}">
                      <a16:colId xmlns:a16="http://schemas.microsoft.com/office/drawing/2014/main" val="3169278472"/>
                    </a:ext>
                  </a:extLst>
                </a:gridCol>
                <a:gridCol w="1125343">
                  <a:extLst>
                    <a:ext uri="{9D8B030D-6E8A-4147-A177-3AD203B41FA5}">
                      <a16:colId xmlns:a16="http://schemas.microsoft.com/office/drawing/2014/main" val="1897156028"/>
                    </a:ext>
                  </a:extLst>
                </a:gridCol>
                <a:gridCol w="1429406">
                  <a:extLst>
                    <a:ext uri="{9D8B030D-6E8A-4147-A177-3AD203B41FA5}">
                      <a16:colId xmlns:a16="http://schemas.microsoft.com/office/drawing/2014/main" val="20005"/>
                    </a:ext>
                  </a:extLst>
                </a:gridCol>
              </a:tblGrid>
              <a:tr h="525484">
                <a:tc>
                  <a:txBody>
                    <a:bodyPr/>
                    <a:lstStyle/>
                    <a:p>
                      <a:pPr algn="ctr"/>
                      <a:r>
                        <a:rPr lang="es-PE" sz="1500" dirty="0"/>
                        <a:t>Stakeholder</a:t>
                      </a:r>
                    </a:p>
                  </a:txBody>
                  <a:tcPr/>
                </a:tc>
                <a:tc>
                  <a:txBody>
                    <a:bodyPr/>
                    <a:lstStyle/>
                    <a:p>
                      <a:pPr algn="ctr"/>
                      <a:r>
                        <a:rPr lang="es-PE" sz="1500" dirty="0"/>
                        <a:t>Acción</a:t>
                      </a:r>
                    </a:p>
                  </a:txBody>
                  <a:tcPr/>
                </a:tc>
                <a:tc>
                  <a:txBody>
                    <a:bodyPr/>
                    <a:lstStyle/>
                    <a:p>
                      <a:pPr algn="ctr"/>
                      <a:r>
                        <a:rPr lang="es-PE" sz="1500" dirty="0"/>
                        <a:t>Objetivo</a:t>
                      </a:r>
                    </a:p>
                  </a:txBody>
                  <a:tcPr/>
                </a:tc>
                <a:tc>
                  <a:txBody>
                    <a:bodyPr/>
                    <a:lstStyle/>
                    <a:p>
                      <a:pPr algn="ctr"/>
                      <a:r>
                        <a:rPr lang="es-PE" sz="1500" dirty="0"/>
                        <a:t>Frecuencia</a:t>
                      </a:r>
                    </a:p>
                  </a:txBody>
                  <a:tcPr/>
                </a:tc>
                <a:tc>
                  <a:txBody>
                    <a:bodyPr/>
                    <a:lstStyle/>
                    <a:p>
                      <a:pPr algn="ctr"/>
                      <a:r>
                        <a:rPr lang="es-PE" sz="1500" dirty="0"/>
                        <a:t>Canal</a:t>
                      </a:r>
                    </a:p>
                  </a:txBody>
                  <a:tcPr/>
                </a:tc>
                <a:tc>
                  <a:txBody>
                    <a:bodyPr/>
                    <a:lstStyle/>
                    <a:p>
                      <a:pPr algn="ctr"/>
                      <a:r>
                        <a:rPr lang="es-PE" sz="1500" dirty="0" smtClean="0"/>
                        <a:t>Responsable</a:t>
                      </a:r>
                      <a:endParaRPr lang="es-PE" sz="1500" dirty="0"/>
                    </a:p>
                  </a:txBody>
                  <a:tcPr/>
                </a:tc>
                <a:extLst>
                  <a:ext uri="{0D108BD9-81ED-4DB2-BD59-A6C34878D82A}">
                    <a16:rowId xmlns:a16="http://schemas.microsoft.com/office/drawing/2014/main" val="317993526"/>
                  </a:ext>
                </a:extLst>
              </a:tr>
              <a:tr h="1554856">
                <a:tc>
                  <a:txBody>
                    <a:bodyPr/>
                    <a:lstStyle/>
                    <a:p>
                      <a:pPr marL="0" algn="l" defTabSz="457200" rtl="0" eaLnBrk="1" latinLnBrk="0" hangingPunct="1"/>
                      <a:r>
                        <a:rPr lang="es-PE" sz="1600" dirty="0" smtClean="0"/>
                        <a:t>Jefes:</a:t>
                      </a:r>
                      <a:r>
                        <a:rPr lang="es-PE" sz="1600" baseline="0" dirty="0" smtClean="0"/>
                        <a:t> Normativo e INSI</a:t>
                      </a:r>
                      <a:endParaRPr lang="es-PE" sz="1600" dirty="0"/>
                    </a:p>
                  </a:txBody>
                  <a:tcPr/>
                </a:tc>
                <a:tc>
                  <a:txBody>
                    <a:bodyPr/>
                    <a:lstStyle/>
                    <a:p>
                      <a:pPr marL="0" marR="0" indent="0" algn="just" defTabSz="457200" rtl="0" eaLnBrk="1" fontAlgn="auto" latinLnBrk="0" hangingPunct="1">
                        <a:lnSpc>
                          <a:spcPct val="100000"/>
                        </a:lnSpc>
                        <a:spcBef>
                          <a:spcPts val="0"/>
                        </a:spcBef>
                        <a:spcAft>
                          <a:spcPts val="0"/>
                        </a:spcAft>
                        <a:buClrTx/>
                        <a:buSzTx/>
                        <a:buFont typeface="Arial" pitchFamily="34" charset="0"/>
                        <a:buChar char="•"/>
                        <a:tabLst/>
                        <a:defRPr/>
                      </a:pPr>
                      <a:r>
                        <a:rPr lang="es-PE" sz="1600" dirty="0" smtClean="0"/>
                        <a:t>Informar avance del proyecto.</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E" sz="1600" dirty="0" smtClean="0"/>
                        <a:t>Informar estado y gestión del proyecto.</a:t>
                      </a:r>
                    </a:p>
                    <a:p>
                      <a:pPr marL="0" marR="0" indent="0" algn="ctr" defTabSz="457200" rtl="0" eaLnBrk="1" fontAlgn="auto" latinLnBrk="0" hangingPunct="1">
                        <a:lnSpc>
                          <a:spcPct val="100000"/>
                        </a:lnSpc>
                        <a:spcBef>
                          <a:spcPts val="0"/>
                        </a:spcBef>
                        <a:spcAft>
                          <a:spcPts val="0"/>
                        </a:spcAft>
                        <a:buClrTx/>
                        <a:buSzTx/>
                        <a:buFontTx/>
                        <a:buNone/>
                        <a:tabLst/>
                        <a:defRPr/>
                      </a:pPr>
                      <a:endParaRPr lang="es-PE" sz="1600" dirty="0" smtClean="0"/>
                    </a:p>
                  </a:txBody>
                  <a:tcPr/>
                </a:tc>
                <a:tc>
                  <a:txBody>
                    <a:bodyPr/>
                    <a:lstStyle/>
                    <a:p>
                      <a:pPr algn="ctr"/>
                      <a:r>
                        <a:rPr lang="es-PE" sz="1600" dirty="0" smtClean="0"/>
                        <a:t>Semanal</a:t>
                      </a:r>
                      <a:endParaRPr lang="es-PE" sz="1600" dirty="0"/>
                    </a:p>
                  </a:txBody>
                  <a:tcPr/>
                </a:tc>
                <a:tc>
                  <a:txBody>
                    <a:bodyPr/>
                    <a:lstStyle/>
                    <a:p>
                      <a:pPr algn="l">
                        <a:buFont typeface="Arial" pitchFamily="34" charset="0"/>
                        <a:buChar char="•"/>
                      </a:pPr>
                      <a:r>
                        <a:rPr lang="es-PE" sz="1600" dirty="0" smtClean="0"/>
                        <a:t>Correo</a:t>
                      </a:r>
                    </a:p>
                    <a:p>
                      <a:pPr algn="l">
                        <a:buFont typeface="Arial" pitchFamily="34" charset="0"/>
                        <a:buChar char="•"/>
                      </a:pPr>
                      <a:r>
                        <a:rPr lang="es-PE" sz="1600" dirty="0" smtClean="0"/>
                        <a:t>Reunión</a:t>
                      </a:r>
                      <a:endParaRPr lang="es-PE" sz="1600" dirty="0"/>
                    </a:p>
                  </a:txBody>
                  <a:tcPr/>
                </a:tc>
                <a:tc>
                  <a:txBody>
                    <a:bodyPr/>
                    <a:lstStyle/>
                    <a:p>
                      <a:pPr algn="l">
                        <a:buFont typeface="Arial" pitchFamily="34" charset="0"/>
                        <a:buChar char="•"/>
                      </a:pPr>
                      <a:r>
                        <a:rPr lang="it-IT" sz="1600" kern="1200" dirty="0" smtClean="0">
                          <a:solidFill>
                            <a:schemeClr val="dk1"/>
                          </a:solidFill>
                          <a:latin typeface="+mn-lt"/>
                          <a:ea typeface="+mn-ea"/>
                          <a:cs typeface="+mn-cs"/>
                        </a:rPr>
                        <a:t>José</a:t>
                      </a:r>
                      <a:r>
                        <a:rPr lang="it-IT" sz="1600" kern="1200" baseline="0" dirty="0" smtClean="0">
                          <a:solidFill>
                            <a:schemeClr val="dk1"/>
                          </a:solidFill>
                          <a:latin typeface="+mn-lt"/>
                          <a:ea typeface="+mn-ea"/>
                          <a:cs typeface="+mn-cs"/>
                        </a:rPr>
                        <a:t> Antón</a:t>
                      </a:r>
                      <a:endParaRPr lang="it-IT" sz="1600" kern="1200" dirty="0" smtClean="0">
                        <a:solidFill>
                          <a:schemeClr val="dk1"/>
                        </a:solidFill>
                        <a:latin typeface="+mn-lt"/>
                        <a:ea typeface="+mn-ea"/>
                        <a:cs typeface="+mn-cs"/>
                      </a:endParaRPr>
                    </a:p>
                  </a:txBody>
                  <a:tcPr/>
                </a:tc>
                <a:extLst>
                  <a:ext uri="{0D108BD9-81ED-4DB2-BD59-A6C34878D82A}">
                    <a16:rowId xmlns:a16="http://schemas.microsoft.com/office/drawing/2014/main" val="10001"/>
                  </a:ext>
                </a:extLst>
              </a:tr>
              <a:tr h="1554856">
                <a:tc>
                  <a:txBody>
                    <a:bodyPr/>
                    <a:lstStyle/>
                    <a:p>
                      <a:pPr marL="0" algn="l" defTabSz="457200" rtl="0" eaLnBrk="1" latinLnBrk="0" hangingPunct="1"/>
                      <a:r>
                        <a:rPr lang="es-PE" sz="1600" dirty="0" smtClean="0"/>
                        <a:t>Superintendente Nacional</a:t>
                      </a:r>
                      <a:endParaRPr lang="es-PE" sz="1600" dirty="0"/>
                    </a:p>
                  </a:txBody>
                  <a:tcPr/>
                </a:tc>
                <a:tc>
                  <a:txBody>
                    <a:bodyPr/>
                    <a:lstStyle/>
                    <a:p>
                      <a:pPr marL="0" marR="0" indent="0" algn="just" defTabSz="457200" rtl="0" eaLnBrk="1" fontAlgn="auto" latinLnBrk="0" hangingPunct="1">
                        <a:lnSpc>
                          <a:spcPct val="100000"/>
                        </a:lnSpc>
                        <a:spcBef>
                          <a:spcPts val="0"/>
                        </a:spcBef>
                        <a:spcAft>
                          <a:spcPts val="0"/>
                        </a:spcAft>
                        <a:buClrTx/>
                        <a:buSzTx/>
                        <a:buFont typeface="Arial" pitchFamily="34" charset="0"/>
                        <a:buChar char="•"/>
                        <a:tabLst/>
                        <a:defRPr/>
                      </a:pPr>
                      <a:r>
                        <a:rPr lang="es-PE" sz="1600" dirty="0" smtClean="0"/>
                        <a:t>Informar avance del proyecto.</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E" sz="1600" dirty="0" smtClean="0"/>
                        <a:t>Informar estado y gestión del proyecto.</a:t>
                      </a:r>
                    </a:p>
                  </a:txBody>
                  <a:tcPr/>
                </a:tc>
                <a:tc>
                  <a:txBody>
                    <a:bodyPr/>
                    <a:lstStyle/>
                    <a:p>
                      <a:pPr algn="ctr"/>
                      <a:r>
                        <a:rPr lang="es-PE" sz="1600" dirty="0" smtClean="0"/>
                        <a:t>Quincenal</a:t>
                      </a:r>
                      <a:endParaRPr lang="es-PE" sz="1600" dirty="0"/>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itchFamily="34" charset="0"/>
                        <a:buChar char="•"/>
                        <a:tabLst/>
                        <a:defRPr/>
                      </a:pPr>
                      <a:r>
                        <a:rPr lang="es-PE" sz="1600" dirty="0" smtClean="0"/>
                        <a:t>Por Correo</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s-PE" sz="1600" dirty="0" smtClean="0"/>
                        <a:t>Reunión</a:t>
                      </a:r>
                    </a:p>
                    <a:p>
                      <a:pPr algn="l">
                        <a:buFont typeface="Arial" pitchFamily="34" charset="0"/>
                        <a:buChar char="•"/>
                      </a:pPr>
                      <a:endParaRPr lang="es-PE" sz="1600" dirty="0"/>
                    </a:p>
                  </a:txBody>
                  <a:tcPr/>
                </a:tc>
                <a:tc>
                  <a:txBody>
                    <a:bodyPr/>
                    <a:lstStyle/>
                    <a:p>
                      <a:pPr algn="l">
                        <a:buFont typeface="Arial" pitchFamily="34" charset="0"/>
                        <a:buChar char="•"/>
                      </a:pPr>
                      <a:r>
                        <a:rPr lang="es-PE" sz="1600" kern="1200" dirty="0" smtClean="0">
                          <a:solidFill>
                            <a:schemeClr val="dk1"/>
                          </a:solidFill>
                          <a:latin typeface="+mn-lt"/>
                          <a:ea typeface="+mn-ea"/>
                          <a:cs typeface="+mn-cs"/>
                        </a:rPr>
                        <a:t>César Gamarra</a:t>
                      </a:r>
                      <a:endParaRPr lang="it-IT" sz="1600" kern="1200" dirty="0" smtClean="0">
                        <a:solidFill>
                          <a:schemeClr val="dk1"/>
                        </a:solidFill>
                        <a:latin typeface="+mn-lt"/>
                        <a:ea typeface="+mn-ea"/>
                        <a:cs typeface="+mn-cs"/>
                      </a:endParaRPr>
                    </a:p>
                  </a:txBody>
                  <a:tcPr/>
                </a:tc>
                <a:extLst>
                  <a:ext uri="{0D108BD9-81ED-4DB2-BD59-A6C34878D82A}">
                    <a16:rowId xmlns:a16="http://schemas.microsoft.com/office/drawing/2014/main" val="10002"/>
                  </a:ext>
                </a:extLst>
              </a:tr>
              <a:tr h="1079761">
                <a:tc>
                  <a:txBody>
                    <a:bodyPr/>
                    <a:lstStyle/>
                    <a:p>
                      <a:pPr marL="0" algn="l" defTabSz="457200" rtl="0" eaLnBrk="1" latinLnBrk="0" hangingPunct="1"/>
                      <a:r>
                        <a:rPr lang="es-PE" sz="1600" kern="1200" dirty="0" smtClean="0">
                          <a:solidFill>
                            <a:schemeClr val="dk1"/>
                          </a:solidFill>
                          <a:latin typeface="+mn-lt"/>
                          <a:ea typeface="+mn-ea"/>
                          <a:cs typeface="+mn-cs"/>
                        </a:rPr>
                        <a:t>Equipo</a:t>
                      </a:r>
                      <a:r>
                        <a:rPr lang="es-PE" sz="1600" kern="1200" baseline="0" dirty="0" smtClean="0">
                          <a:solidFill>
                            <a:schemeClr val="dk1"/>
                          </a:solidFill>
                          <a:latin typeface="+mn-lt"/>
                          <a:ea typeface="+mn-ea"/>
                          <a:cs typeface="+mn-cs"/>
                        </a:rPr>
                        <a:t> Normativo</a:t>
                      </a:r>
                    </a:p>
                    <a:p>
                      <a:pPr marL="0" algn="l" defTabSz="457200" rtl="0" eaLnBrk="1" latinLnBrk="0" hangingPunct="1"/>
                      <a:r>
                        <a:rPr lang="es-PE" sz="1600" kern="1200" baseline="0" dirty="0" smtClean="0">
                          <a:solidFill>
                            <a:schemeClr val="dk1"/>
                          </a:solidFill>
                          <a:latin typeface="+mn-lt"/>
                          <a:ea typeface="+mn-ea"/>
                          <a:cs typeface="+mn-cs"/>
                        </a:rPr>
                        <a:t>Equipo INSI</a:t>
                      </a:r>
                      <a:endParaRPr lang="es-PE" sz="1600" dirty="0"/>
                    </a:p>
                  </a:txBody>
                  <a:tcPr/>
                </a:tc>
                <a:tc>
                  <a:txBody>
                    <a:bodyPr/>
                    <a:lstStyle/>
                    <a:p>
                      <a:pPr algn="just">
                        <a:buFont typeface="Arial" pitchFamily="34" charset="0"/>
                        <a:buChar char="•"/>
                      </a:pPr>
                      <a:r>
                        <a:rPr lang="es-PE" sz="1600" dirty="0"/>
                        <a:t>Informar avance del proyecto.</a:t>
                      </a:r>
                    </a:p>
                    <a:p>
                      <a:pPr algn="just">
                        <a:buFont typeface="Arial" pitchFamily="34" charset="0"/>
                        <a:buChar char="•"/>
                      </a:pPr>
                      <a:r>
                        <a:rPr lang="es-PE" sz="1600" dirty="0"/>
                        <a:t>Escalamiento de riesgo y/o problemas.</a:t>
                      </a:r>
                    </a:p>
                    <a:p>
                      <a:pPr algn="just">
                        <a:buFont typeface="Arial" pitchFamily="34" charset="0"/>
                        <a:buChar char="•"/>
                      </a:pPr>
                      <a:r>
                        <a:rPr lang="es-PE" sz="1600" dirty="0"/>
                        <a:t>Aprobación de Solicitudes de cambio</a:t>
                      </a:r>
                      <a:r>
                        <a:rPr lang="es-PE" sz="1600" dirty="0" smtClean="0"/>
                        <a:t>.</a:t>
                      </a:r>
                    </a:p>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lang="es-PE" sz="1600" dirty="0" smtClean="0"/>
                        <a:t>Coordinar avance del documento de diseño</a:t>
                      </a:r>
                      <a:r>
                        <a:rPr lang="es-PE" sz="1600" baseline="0" dirty="0" smtClean="0"/>
                        <a:t> de la solución.</a:t>
                      </a:r>
                    </a:p>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lang="es-PE" sz="1600" dirty="0" smtClean="0"/>
                        <a:t>Coordinar pruebas funcionales y de aceptación.</a:t>
                      </a:r>
                    </a:p>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endParaRPr lang="es-PE" sz="1600" dirty="0" smtClean="0"/>
                    </a:p>
                    <a:p>
                      <a:pPr algn="just">
                        <a:buFont typeface="Arial" pitchFamily="34" charset="0"/>
                        <a:buChar char="•"/>
                      </a:pPr>
                      <a:endParaRPr lang="es-PE" sz="1600" dirty="0"/>
                    </a:p>
                  </a:txBody>
                  <a:tcPr/>
                </a:tc>
                <a:tc>
                  <a:txBody>
                    <a:bodyPr/>
                    <a:lstStyle/>
                    <a:p>
                      <a:pPr algn="ctr"/>
                      <a:r>
                        <a:rPr lang="es-PE" sz="1600" dirty="0"/>
                        <a:t>Informar estado y gestión del proyecto.</a:t>
                      </a:r>
                    </a:p>
                  </a:txBody>
                  <a:tcPr/>
                </a:tc>
                <a:tc>
                  <a:txBody>
                    <a:bodyPr/>
                    <a:lstStyle/>
                    <a:p>
                      <a:pPr algn="ctr"/>
                      <a:r>
                        <a:rPr lang="es-PE" sz="1600" dirty="0"/>
                        <a:t>Semanal</a:t>
                      </a:r>
                    </a:p>
                  </a:txBody>
                  <a:tcPr/>
                </a:tc>
                <a:tc>
                  <a:txBody>
                    <a:bodyPr/>
                    <a:lstStyle/>
                    <a:p>
                      <a:pPr algn="l">
                        <a:buFont typeface="Arial" pitchFamily="34" charset="0"/>
                        <a:buChar char="•"/>
                      </a:pPr>
                      <a:r>
                        <a:rPr lang="es-PE" sz="1600" dirty="0"/>
                        <a:t>Por </a:t>
                      </a:r>
                      <a:r>
                        <a:rPr lang="es-PE" sz="1600" dirty="0" smtClean="0"/>
                        <a:t>Correo</a:t>
                      </a:r>
                    </a:p>
                    <a:p>
                      <a:pPr algn="l">
                        <a:buFont typeface="Arial" pitchFamily="34" charset="0"/>
                        <a:buChar char="•"/>
                      </a:pPr>
                      <a:r>
                        <a:rPr lang="es-PE" sz="1600" dirty="0" smtClean="0"/>
                        <a:t>Reunión</a:t>
                      </a:r>
                      <a:endParaRPr lang="es-PE" sz="1600" dirty="0"/>
                    </a:p>
                  </a:txBody>
                  <a:tcPr/>
                </a:tc>
                <a:tc>
                  <a:txBody>
                    <a:bodyPr/>
                    <a:lstStyle/>
                    <a:p>
                      <a:pPr algn="l">
                        <a:buFont typeface="Arial" pitchFamily="34" charset="0"/>
                        <a:buChar char="•"/>
                      </a:pPr>
                      <a:r>
                        <a:rPr lang="es-PE" sz="1600" dirty="0" smtClean="0"/>
                        <a:t>José Antón</a:t>
                      </a:r>
                      <a:endParaRPr lang="es-PE" sz="1600" dirty="0"/>
                    </a:p>
                  </a:txBody>
                  <a:tcPr/>
                </a:tc>
                <a:extLst>
                  <a:ext uri="{0D108BD9-81ED-4DB2-BD59-A6C34878D82A}">
                    <a16:rowId xmlns:a16="http://schemas.microsoft.com/office/drawing/2014/main" val="2063738139"/>
                  </a:ext>
                </a:extLst>
              </a:tr>
            </a:tbl>
          </a:graphicData>
        </a:graphic>
      </p:graphicFrame>
    </p:spTree>
    <p:extLst>
      <p:ext uri="{BB962C8B-B14F-4D97-AF65-F5344CB8AC3E}">
        <p14:creationId xmlns:p14="http://schemas.microsoft.com/office/powerpoint/2010/main" val="28757220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101245"/>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Factores de éxito</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2" name="TextBox 1">
            <a:extLst>
              <a:ext uri="{FF2B5EF4-FFF2-40B4-BE49-F238E27FC236}">
                <a16:creationId xmlns:a16="http://schemas.microsoft.com/office/drawing/2014/main" id="{79A947E3-35B9-4AFB-B8CE-4D3754BD2517}"/>
              </a:ext>
            </a:extLst>
          </p:cNvPr>
          <p:cNvSpPr txBox="1"/>
          <p:nvPr/>
        </p:nvSpPr>
        <p:spPr>
          <a:xfrm>
            <a:off x="242249" y="986916"/>
            <a:ext cx="11429798" cy="2031325"/>
          </a:xfrm>
          <a:prstGeom prst="rect">
            <a:avLst/>
          </a:prstGeom>
          <a:noFill/>
        </p:spPr>
        <p:txBody>
          <a:bodyPr wrap="square" rtlCol="0">
            <a:spAutoFit/>
          </a:bodyPr>
          <a:lstStyle/>
          <a:p>
            <a:pPr marL="171450" lvl="0" indent="-171450" eaLnBrk="0" fontAlgn="base" hangingPunct="0">
              <a:spcBef>
                <a:spcPct val="0"/>
              </a:spcBef>
              <a:spcAft>
                <a:spcPct val="0"/>
              </a:spcAft>
              <a:buFont typeface="Arial" panose="020B0604020202020204" pitchFamily="34" charset="0"/>
              <a:buChar char="•"/>
            </a:pP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Toma </a:t>
            </a: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oportuna y eficaz de decisiones para evitar </a:t>
            </a: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retrasos </a:t>
            </a: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en el plan de </a:t>
            </a: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trabajo.</a:t>
            </a:r>
            <a:endPar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endParaRPr>
          </a:p>
          <a:p>
            <a:pPr marL="171450" lvl="0" indent="-171450" eaLnBrk="0" fontAlgn="base" hangingPunct="0">
              <a:spcBef>
                <a:spcPct val="0"/>
              </a:spcBef>
              <a:spcAft>
                <a:spcPct val="0"/>
              </a:spcAft>
              <a:buFont typeface="Arial" panose="020B0604020202020204" pitchFamily="34" charset="0"/>
              <a:buChar char="•"/>
            </a:pPr>
            <a:endPar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endParaRPr>
          </a:p>
          <a:p>
            <a:pPr marL="171450" lvl="0" indent="-171450" eaLnBrk="0" fontAlgn="base" hangingPunct="0">
              <a:spcBef>
                <a:spcPct val="0"/>
              </a:spcBef>
              <a:spcAft>
                <a:spcPct val="0"/>
              </a:spcAft>
              <a:buFont typeface="Arial" panose="020B0604020202020204" pitchFamily="34" charset="0"/>
              <a:buChar char="•"/>
            </a:pP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Se realizará un trabajo iterativo del desarrollo </a:t>
            </a: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de </a:t>
            </a: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software, por lo que se </a:t>
            </a: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podrán aplicar cambios y acciones correctivas a la arquitectura, diseño y codificación para lograr </a:t>
            </a: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cumplir los </a:t>
            </a: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requerimientos y el nivel de calidad esperado</a:t>
            </a:r>
          </a:p>
          <a:p>
            <a:pPr marL="171450" lvl="0" indent="-171450" eaLnBrk="0" fontAlgn="base" hangingPunct="0">
              <a:spcBef>
                <a:spcPct val="0"/>
              </a:spcBef>
              <a:spcAft>
                <a:spcPct val="0"/>
              </a:spcAft>
              <a:buFont typeface="Arial" panose="020B0604020202020204" pitchFamily="34" charset="0"/>
              <a:buChar char="•"/>
            </a:pPr>
            <a:endParaRPr lang="es-PE" dirty="0">
              <a:solidFill>
                <a:schemeClr val="accent1">
                  <a:lumMod val="75000"/>
                </a:schemeClr>
              </a:solidFill>
              <a:latin typeface="Segoe UI" panose="020B0502040204020203" pitchFamily="34" charset="0"/>
              <a:cs typeface="Segoe UI" panose="020B0502040204020203" pitchFamily="34" charset="0"/>
            </a:endParaRPr>
          </a:p>
          <a:p>
            <a:pPr marL="171450" lvl="0" indent="-171450" eaLnBrk="0" fontAlgn="base" hangingPunct="0">
              <a:spcBef>
                <a:spcPct val="0"/>
              </a:spcBef>
              <a:spcAft>
                <a:spcPct val="0"/>
              </a:spcAft>
              <a:buFont typeface="Arial" panose="020B0604020202020204" pitchFamily="34" charset="0"/>
              <a:buChar char="•"/>
            </a:pPr>
            <a:r>
              <a:rPr lang="es-PE" dirty="0">
                <a:solidFill>
                  <a:schemeClr val="accent1">
                    <a:lumMod val="75000"/>
                  </a:schemeClr>
                </a:solidFill>
                <a:latin typeface="Segoe UI" panose="020B0502040204020203" pitchFamily="34" charset="0"/>
                <a:cs typeface="Segoe UI" panose="020B0502040204020203" pitchFamily="34" charset="0"/>
              </a:rPr>
              <a:t>Transparencia, flexibilidad y trabajo en equipo</a:t>
            </a:r>
          </a:p>
        </p:txBody>
      </p:sp>
    </p:spTree>
    <p:extLst>
      <p:ext uri="{BB962C8B-B14F-4D97-AF65-F5344CB8AC3E}">
        <p14:creationId xmlns:p14="http://schemas.microsoft.com/office/powerpoint/2010/main" val="2697538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30551_TR19_BO_CT_Template">
  <a:themeElements>
    <a:clrScheme name="SAT 2015">
      <a:dk1>
        <a:sysClr val="windowText" lastClr="000000"/>
      </a:dk1>
      <a:lt1>
        <a:sysClr val="window" lastClr="FFFFFF"/>
      </a:lt1>
      <a:dk2>
        <a:srgbClr val="44546A"/>
      </a:dk2>
      <a:lt2>
        <a:srgbClr val="E7E6E6"/>
      </a:lt2>
      <a:accent1>
        <a:srgbClr val="007A3D"/>
      </a:accent1>
      <a:accent2>
        <a:srgbClr val="C41E3A"/>
      </a:accent2>
      <a:accent3>
        <a:srgbClr val="7F7F83"/>
      </a:accent3>
      <a:accent4>
        <a:srgbClr val="0575BC"/>
      </a:accent4>
      <a:accent5>
        <a:srgbClr val="CACBCD"/>
      </a:accent5>
      <a:accent6>
        <a:srgbClr val="FDBF0F"/>
      </a:accent6>
      <a:hlink>
        <a:srgbClr val="ED7D31"/>
      </a:hlink>
      <a:folHlink>
        <a:srgbClr val="9CC3E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S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Campus – Individual IP" ma:contentTypeID="0x01010079CA57CA2DAD654DAB031774EE6746580100750E71184B7F054D80A4E75E23CC480F" ma:contentTypeVersion="24" ma:contentTypeDescription="This content type is produced by an individual or team as part of a team collaboration effort, such as customer engagement. Reuse this type of content at your own risk." ma:contentTypeScope="" ma:versionID="4e6221e9a74904b3a319a9806dabfef6">
  <xsd:schema xmlns:xsd="http://www.w3.org/2001/XMLSchema" xmlns:xs="http://www.w3.org/2001/XMLSchema" xmlns:p="http://schemas.microsoft.com/office/2006/metadata/properties" xmlns:ns2="230e9df3-be65-4c73-a93b-d1236ebd677e" targetNamespace="http://schemas.microsoft.com/office/2006/metadata/properties" ma:root="true" ma:fieldsID="05ab19bfa0d4f88bc24e05f0a152a9c4" ns2:_="">
    <xsd:import namespace="230e9df3-be65-4c73-a93b-d1236ebd677e"/>
    <xsd:element name="properties">
      <xsd:complexType>
        <xsd:sequence>
          <xsd:element name="documentManagement">
            <xsd:complexType>
              <xsd:all>
                <xsd:element ref="ns2:DerivedFromID" minOccurs="0"/>
                <xsd:element ref="ns2:DocumentDescription" minOccurs="0"/>
                <xsd:element ref="ns2:Authors" minOccurs="0"/>
                <xsd:element ref="ns2:_dlc_DocIdUrl" minOccurs="0"/>
                <xsd:element ref="ns2:_dlc_DocIdPersistId" minOccurs="0"/>
                <xsd:element ref="ns2:MSProductsTaxHTField0" minOccurs="0"/>
                <xsd:element ref="ns2:TaxCatchAll" minOccurs="0"/>
                <xsd:element ref="ns2:TaxCatchAllLabel" minOccurs="0"/>
                <xsd:element ref="ns2:m74a2925250f485f9486ed3f97e2a6b3" minOccurs="0"/>
                <xsd:element ref="ns2:oad7af80ad0f4ba99bb03b3894ab533c" minOccurs="0"/>
                <xsd:element ref="ns2:bc28b5f076654a3b96073bbbebfeb8c9" minOccurs="0"/>
                <xsd:element ref="ns2:_dlc_Doc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erivedFromID" ma:index="2" nillable="true" ma:displayName="Derived from ID" ma:default="Original" ma:description="Holds the Document Id if the document is derived from an existing document in Campus." ma:internalName="DerivedFromID" ma:readOnly="false">
      <xsd:simpleType>
        <xsd:restriction base="dms:Text">
          <xsd:maxLength value="255"/>
        </xsd:restriction>
      </xsd:simpleType>
    </xsd:element>
    <xsd:element name="DocumentDescription" ma:index="3" nillable="true"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Authors" ma:index="4" nillable="true" ma:displayName="Authors" ma:description="The individuals who contributed to the creation of this content. Includes both primary and secondary authors." ma:list="UserInfo" ma:SharePointGroup="0" ma:internalName="Autho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MSProductsTaxHTField0" ma:index="13" nillable="true" ma:taxonomy="true" ma:internalName="MSProductsTaxHTField0" ma:taxonomyFieldName="MSProducts" ma:displayName="MS Products" ma:default="316;#SQL Server 2016|602ed9ae-4685-4db5-ad61-54cdef53fd64;#14;#Azure|669a3112-5edf-444b-a003-630063601f07"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TaxCatchAll" ma:index="14" nillable="true" ma:displayName="Taxonomy Catch All Column" ma:description="" ma:hidden="true" ma:list="{d843ea52-b8e4-4dc1-a695-4ced751693b1}" ma:internalName="TaxCatchAll" ma:showField="CatchAllData" ma:web="b05c8568-cede-4531-a815-6d01899c7a83">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description="" ma:hidden="true" ma:list="{d843ea52-b8e4-4dc1-a695-4ced751693b1}" ma:internalName="TaxCatchAllLabel" ma:readOnly="true" ma:showField="CatchAllDataLabel" ma:web="b05c8568-cede-4531-a815-6d01899c7a83">
      <xsd:complexType>
        <xsd:complexContent>
          <xsd:extension base="dms:MultiChoiceLookup">
            <xsd:sequence>
              <xsd:element name="Value" type="dms:Lookup" maxOccurs="unbounded" minOccurs="0" nillable="true"/>
            </xsd:sequence>
          </xsd:extension>
        </xsd:complexContent>
      </xsd:complexType>
    </xsd:element>
    <xsd:element name="m74a2925250f485f9486ed3f97e2a6b3" ma:index="17" nillable="true" ma:taxonomy="true" ma:internalName="m74a2925250f485f9486ed3f97e2a6b3" ma:taxonomyFieldName="VerticalIndustries" ma:displayName="Vertical Industries" ma:default="120;#Civilian Government|0a090a42-8fcf-4c58-8d4f-10b57a9eafc0"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oad7af80ad0f4ba99bb03b3894ab533c" ma:index="19" nillable="true" ma:taxonomy="true" ma:internalName="oad7af80ad0f4ba99bb03b3894ab533c" ma:taxonomyFieldName="ServicesIPTypes" ma:displayName="Services IP Typ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element name="bc28b5f076654a3b96073bbbebfeb8c9" ma:index="21" nillable="true" ma:taxonomy="true" ma:internalName="bc28b5f076654a3b96073bbbebfeb8c9" ma:taxonomyFieldName="MSLanguage" ma:displayName="MS Language" ma:default="235;#English|cb91f272-ce4d-4a7e-9bbf-78b58e3d188d" ma:fieldId="{bc28b5f0-7665-4a3b-9607-3bbbebfeb8c9}"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element name="_dlc_DocId" ma:index="22" nillable="true" ma:displayName="Document ID Value" ma:description="The value of the document ID assigned to this item." ma:internalName="_dlc_DocId"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 xsi:nil="true"/>
    <bc28b5f076654a3b96073bbbebfeb8c9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bc28b5f076654a3b96073bbbebfeb8c9>
    <MSProductsTaxHTField0 xmlns="230e9df3-be65-4c73-a93b-d1236ebd677e">
      <Terms xmlns="http://schemas.microsoft.com/office/infopath/2007/PartnerControls">
        <TermInfo xmlns="http://schemas.microsoft.com/office/infopath/2007/PartnerControls">
          <TermName xmlns="http://schemas.microsoft.com/office/infopath/2007/PartnerControls">SQL Server 2016</TermName>
          <TermId xmlns="http://schemas.microsoft.com/office/infopath/2007/PartnerControls">602ed9ae-4685-4db5-ad61-54cdef53fd64</TermId>
        </TermInfo>
        <TermInfo xmlns="http://schemas.microsoft.com/office/infopath/2007/PartnerControls">
          <TermName xmlns="http://schemas.microsoft.com/office/infopath/2007/PartnerControls">Azure</TermName>
          <TermId xmlns="http://schemas.microsoft.com/office/infopath/2007/PartnerControls">669a3112-5edf-444b-a003-630063601f07</TermId>
        </TermInfo>
      </Term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Civilian Government</TermName>
          <TermId xmlns="http://schemas.microsoft.com/office/infopath/2007/PartnerControls">0a090a42-8fcf-4c58-8d4f-10b57a9eafc0</TermId>
        </TermInfo>
      </Terms>
    </m74a2925250f485f9486ed3f97e2a6b3>
    <oad7af80ad0f4ba99bb03b3894ab533c xmlns="230e9df3-be65-4c73-a93b-d1236ebd677e">
      <Terms xmlns="http://schemas.microsoft.com/office/infopath/2007/PartnerControls"/>
    </oad7af80ad0f4ba99bb03b3894ab533c>
    <Authors xmlns="230e9df3-be65-4c73-a93b-d1236ebd677e">
      <UserInfo>
        <DisplayName/>
        <AccountId xsi:nil="true"/>
        <AccountType/>
      </UserInfo>
    </Authors>
    <DerivedFromID xmlns="230e9df3-be65-4c73-a93b-d1236ebd677e">CPS085-1649839673-211</DerivedFromID>
    <TaxCatchAll xmlns="230e9df3-be65-4c73-a93b-d1236ebd677e">
      <Value>235</Value>
      <Value>120</Value>
      <Value>316</Value>
      <Value>14</Value>
    </TaxCatchAll>
    <_dlc_DocId xmlns="230e9df3-be65-4c73-a93b-d1236ebd677e">CPS085-1649839673-219</_dlc_DocId>
    <_dlc_DocIdUrl xmlns="230e9df3-be65-4c73-a93b-d1236ebd677e">
      <Url>https://microsoft.sharepoint.com/teams/CampusProjectSites085/zzsavvhvha/_layouts/15/DocIdRedir.aspx?ID=CPS085-1649839673-219</Url>
      <Description>CPS085-1649839673-219</Description>
    </_dlc_DocIdUrl>
  </documentManagement>
</p:properties>
</file>

<file path=customXml/itemProps1.xml><?xml version="1.0" encoding="utf-8"?>
<ds:datastoreItem xmlns:ds="http://schemas.openxmlformats.org/officeDocument/2006/customXml" ds:itemID="{CA026FD7-6E19-436C-B0B0-C7289FCA54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D9D09D0-2DC4-40E5-B4F3-DF7E1A2B3B2E}">
  <ds:schemaRefs>
    <ds:schemaRef ds:uri="http://schemas.microsoft.com/sharepoint/events"/>
  </ds:schemaRefs>
</ds:datastoreItem>
</file>

<file path=customXml/itemProps3.xml><?xml version="1.0" encoding="utf-8"?>
<ds:datastoreItem xmlns:ds="http://schemas.openxmlformats.org/officeDocument/2006/customXml" ds:itemID="{6C79D8AC-357A-4CD5-B3EB-EB75F06802C6}">
  <ds:schemaRefs>
    <ds:schemaRef ds:uri="http://schemas.microsoft.com/sharepoint/v3/contenttype/forms"/>
  </ds:schemaRefs>
</ds:datastoreItem>
</file>

<file path=customXml/itemProps4.xml><?xml version="1.0" encoding="utf-8"?>
<ds:datastoreItem xmlns:ds="http://schemas.openxmlformats.org/officeDocument/2006/customXml" ds:itemID="{36268084-E225-440E-9BC3-4820964A4EA2}">
  <ds:schemaRefs>
    <ds:schemaRef ds:uri="http://www.w3.org/XML/1998/namespace"/>
    <ds:schemaRef ds:uri="http://purl.org/dc/elements/1.1/"/>
    <ds:schemaRef ds:uri="http://schemas.microsoft.com/office/2006/metadata/properties"/>
    <ds:schemaRef ds:uri="http://schemas.microsoft.com/office/infopath/2007/PartnerControls"/>
    <ds:schemaRef ds:uri="230e9df3-be65-4c73-a93b-d1236ebd677e"/>
    <ds:schemaRef ds:uri="http://schemas.microsoft.com/office/2006/documentManagement/types"/>
    <ds:schemaRef ds:uri="http://purl.org/dc/dcmitype/"/>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3596</TotalTime>
  <Words>1103</Words>
  <Application>Microsoft Office PowerPoint</Application>
  <PresentationFormat>Panorámica</PresentationFormat>
  <Paragraphs>191</Paragraphs>
  <Slides>11</Slides>
  <Notes>11</Notes>
  <HiddenSlides>0</HiddenSlides>
  <MMClips>0</MMClips>
  <ScaleCrop>false</ScaleCrop>
  <HeadingPairs>
    <vt:vector size="8" baseType="variant">
      <vt:variant>
        <vt:lpstr>Fuentes usadas</vt:lpstr>
      </vt:variant>
      <vt:variant>
        <vt:i4>12</vt:i4>
      </vt:variant>
      <vt:variant>
        <vt:lpstr>Tema</vt:lpstr>
      </vt:variant>
      <vt:variant>
        <vt:i4>3</vt:i4>
      </vt:variant>
      <vt:variant>
        <vt:lpstr>Servidores OLE incrustados</vt:lpstr>
      </vt:variant>
      <vt:variant>
        <vt:i4>1</vt:i4>
      </vt:variant>
      <vt:variant>
        <vt:lpstr>Títulos de diapositiva</vt:lpstr>
      </vt:variant>
      <vt:variant>
        <vt:i4>11</vt:i4>
      </vt:variant>
    </vt:vector>
  </HeadingPairs>
  <TitlesOfParts>
    <vt:vector size="27" baseType="lpstr">
      <vt:lpstr>Arial</vt:lpstr>
      <vt:lpstr>Calibri</vt:lpstr>
      <vt:lpstr>Calibri Light</vt:lpstr>
      <vt:lpstr>Helvetica LT Std</vt:lpstr>
      <vt:lpstr>Roboto Bold</vt:lpstr>
      <vt:lpstr>Roboto Light</vt:lpstr>
      <vt:lpstr>Roboto Regular</vt:lpstr>
      <vt:lpstr>Segoe Semibold</vt:lpstr>
      <vt:lpstr>Segoe UI</vt:lpstr>
      <vt:lpstr>Segoe UI Light</vt:lpstr>
      <vt:lpstr>Times New Roman</vt:lpstr>
      <vt:lpstr>Wingdings</vt:lpstr>
      <vt:lpstr>Office Theme</vt:lpstr>
      <vt:lpstr>4_5-30551_TR19_BO_CT_Template</vt:lpstr>
      <vt:lpstr>1_Office Theme</vt:lpstr>
      <vt:lpstr>think-cell Slide</vt:lpstr>
      <vt:lpstr>Reunión Kick-Off  Control Electrónico de Cumplimiento Tributario del IGV   Superintendencia Nacional de Aduanas y de Administración Tributaria - SUNAT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ul Flores Palacios</dc:creator>
  <cp:lastModifiedBy>José S. Antón Napa</cp:lastModifiedBy>
  <cp:revision>427</cp:revision>
  <dcterms:created xsi:type="dcterms:W3CDTF">2017-04-28T22:55:58Z</dcterms:created>
  <dcterms:modified xsi:type="dcterms:W3CDTF">2018-04-17T04:5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seruiz@microsoft.com</vt:lpwstr>
  </property>
  <property fmtid="{D5CDD505-2E9C-101B-9397-08002B2CF9AE}" pid="5" name="MSIP_Label_f42aa342-8706-4288-bd11-ebb85995028c_SetDate">
    <vt:lpwstr>2017-11-08T04:26:55.56330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79CA57CA2DAD654DAB031774EE6746580100750E71184B7F054D80A4E75E23CC480F</vt:lpwstr>
  </property>
  <property fmtid="{D5CDD505-2E9C-101B-9397-08002B2CF9AE}" pid="11" name="_dlc_DocIdItemGuid">
    <vt:lpwstr>5ba65ef8-8e3a-4425-8948-108cec167c8e</vt:lpwstr>
  </property>
  <property fmtid="{D5CDD505-2E9C-101B-9397-08002B2CF9AE}" pid="12" name="VerticalIndustries">
    <vt:lpwstr>120;#Civilian Government|0a090a42-8fcf-4c58-8d4f-10b57a9eafc0</vt:lpwstr>
  </property>
  <property fmtid="{D5CDD505-2E9C-101B-9397-08002B2CF9AE}" pid="13" name="ServicesIPTypes">
    <vt:lpwstr/>
  </property>
  <property fmtid="{D5CDD505-2E9C-101B-9397-08002B2CF9AE}" pid="14" name="MSLanguage">
    <vt:lpwstr>235;#English|cb91f272-ce4d-4a7e-9bbf-78b58e3d188d</vt:lpwstr>
  </property>
  <property fmtid="{D5CDD505-2E9C-101B-9397-08002B2CF9AE}" pid="15" name="MSProducts">
    <vt:lpwstr>316;#SQL Server 2016|602ed9ae-4685-4db5-ad61-54cdef53fd64;#14;#Azure|669a3112-5edf-444b-a003-630063601f07</vt:lpwstr>
  </property>
</Properties>
</file>